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681" r:id="rId5"/>
    <p:sldMasterId id="2147483763" r:id="rId6"/>
    <p:sldMasterId id="2147483776" r:id="rId7"/>
    <p:sldMasterId id="2147483789" r:id="rId8"/>
  </p:sldMasterIdLst>
  <p:notesMasterIdLst>
    <p:notesMasterId r:id="rId40"/>
  </p:notesMasterIdLst>
  <p:handoutMasterIdLst>
    <p:handoutMasterId r:id="rId41"/>
  </p:handoutMasterIdLst>
  <p:sldIdLst>
    <p:sldId id="542" r:id="rId9"/>
    <p:sldId id="515" r:id="rId10"/>
    <p:sldId id="499" r:id="rId11"/>
    <p:sldId id="539" r:id="rId12"/>
    <p:sldId id="541" r:id="rId13"/>
    <p:sldId id="561" r:id="rId14"/>
    <p:sldId id="517" r:id="rId15"/>
    <p:sldId id="562" r:id="rId16"/>
    <p:sldId id="1925" r:id="rId17"/>
    <p:sldId id="527" r:id="rId18"/>
    <p:sldId id="1920" r:id="rId19"/>
    <p:sldId id="1922" r:id="rId20"/>
    <p:sldId id="1923" r:id="rId21"/>
    <p:sldId id="522" r:id="rId22"/>
    <p:sldId id="1927" r:id="rId23"/>
    <p:sldId id="788" r:id="rId24"/>
    <p:sldId id="1921" r:id="rId25"/>
    <p:sldId id="1924" r:id="rId26"/>
    <p:sldId id="808" r:id="rId27"/>
    <p:sldId id="809" r:id="rId28"/>
    <p:sldId id="807" r:id="rId29"/>
    <p:sldId id="564" r:id="rId30"/>
    <p:sldId id="805" r:id="rId31"/>
    <p:sldId id="1926" r:id="rId32"/>
    <p:sldId id="1468" r:id="rId33"/>
    <p:sldId id="563" r:id="rId34"/>
    <p:sldId id="524" r:id="rId35"/>
    <p:sldId id="806" r:id="rId36"/>
    <p:sldId id="525" r:id="rId37"/>
    <p:sldId id="531" r:id="rId38"/>
    <p:sldId id="804" r:id="rId39"/>
  </p:sldIdLst>
  <p:sldSz cx="9906000" cy="6858000" type="A4"/>
  <p:notesSz cx="9144000" cy="6858000"/>
  <p:defaultTextStyle>
    <a:defPPr>
      <a:defRPr lang="en-US"/>
    </a:defPPr>
    <a:lvl1pPr marL="0" algn="l" defTabSz="364983" rtl="0" eaLnBrk="1" latinLnBrk="0" hangingPunct="1">
      <a:defRPr sz="1437" kern="1200">
        <a:solidFill>
          <a:schemeClr val="tx1"/>
        </a:solidFill>
        <a:latin typeface="+mn-lt"/>
        <a:ea typeface="+mn-ea"/>
        <a:cs typeface="+mn-cs"/>
      </a:defRPr>
    </a:lvl1pPr>
    <a:lvl2pPr marL="364983" algn="l" defTabSz="364983" rtl="0" eaLnBrk="1" latinLnBrk="0" hangingPunct="1">
      <a:defRPr sz="1437" kern="1200">
        <a:solidFill>
          <a:schemeClr val="tx1"/>
        </a:solidFill>
        <a:latin typeface="+mn-lt"/>
        <a:ea typeface="+mn-ea"/>
        <a:cs typeface="+mn-cs"/>
      </a:defRPr>
    </a:lvl2pPr>
    <a:lvl3pPr marL="729966" algn="l" defTabSz="364983" rtl="0" eaLnBrk="1" latinLnBrk="0" hangingPunct="1">
      <a:defRPr sz="1437" kern="1200">
        <a:solidFill>
          <a:schemeClr val="tx1"/>
        </a:solidFill>
        <a:latin typeface="+mn-lt"/>
        <a:ea typeface="+mn-ea"/>
        <a:cs typeface="+mn-cs"/>
      </a:defRPr>
    </a:lvl3pPr>
    <a:lvl4pPr marL="1094948" algn="l" defTabSz="364983" rtl="0" eaLnBrk="1" latinLnBrk="0" hangingPunct="1">
      <a:defRPr sz="1437" kern="1200">
        <a:solidFill>
          <a:schemeClr val="tx1"/>
        </a:solidFill>
        <a:latin typeface="+mn-lt"/>
        <a:ea typeface="+mn-ea"/>
        <a:cs typeface="+mn-cs"/>
      </a:defRPr>
    </a:lvl4pPr>
    <a:lvl5pPr marL="1459931" algn="l" defTabSz="364983" rtl="0" eaLnBrk="1" latinLnBrk="0" hangingPunct="1">
      <a:defRPr sz="1437" kern="1200">
        <a:solidFill>
          <a:schemeClr val="tx1"/>
        </a:solidFill>
        <a:latin typeface="+mn-lt"/>
        <a:ea typeface="+mn-ea"/>
        <a:cs typeface="+mn-cs"/>
      </a:defRPr>
    </a:lvl5pPr>
    <a:lvl6pPr marL="1824914" algn="l" defTabSz="364983" rtl="0" eaLnBrk="1" latinLnBrk="0" hangingPunct="1">
      <a:defRPr sz="1437" kern="1200">
        <a:solidFill>
          <a:schemeClr val="tx1"/>
        </a:solidFill>
        <a:latin typeface="+mn-lt"/>
        <a:ea typeface="+mn-ea"/>
        <a:cs typeface="+mn-cs"/>
      </a:defRPr>
    </a:lvl6pPr>
    <a:lvl7pPr marL="2189897" algn="l" defTabSz="364983" rtl="0" eaLnBrk="1" latinLnBrk="0" hangingPunct="1">
      <a:defRPr sz="1437" kern="1200">
        <a:solidFill>
          <a:schemeClr val="tx1"/>
        </a:solidFill>
        <a:latin typeface="+mn-lt"/>
        <a:ea typeface="+mn-ea"/>
        <a:cs typeface="+mn-cs"/>
      </a:defRPr>
    </a:lvl7pPr>
    <a:lvl8pPr marL="2554879" algn="l" defTabSz="364983" rtl="0" eaLnBrk="1" latinLnBrk="0" hangingPunct="1">
      <a:defRPr sz="1437" kern="1200">
        <a:solidFill>
          <a:schemeClr val="tx1"/>
        </a:solidFill>
        <a:latin typeface="+mn-lt"/>
        <a:ea typeface="+mn-ea"/>
        <a:cs typeface="+mn-cs"/>
      </a:defRPr>
    </a:lvl8pPr>
    <a:lvl9pPr marL="2919862" algn="l" defTabSz="364983" rtl="0" eaLnBrk="1" latinLnBrk="0" hangingPunct="1">
      <a:defRPr sz="1437"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opher Wong" initials="CW" lastIdx="9" clrIdx="0">
    <p:extLst>
      <p:ext uri="{19B8F6BF-5375-455C-9EA6-DF929625EA0E}">
        <p15:presenceInfo xmlns:p15="http://schemas.microsoft.com/office/powerpoint/2012/main" userId="e910426744b303f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9C66"/>
    <a:srgbClr val="966E32"/>
    <a:srgbClr val="21274B"/>
    <a:srgbClr val="404040"/>
    <a:srgbClr val="C59C65"/>
    <a:srgbClr val="FCB8B6"/>
    <a:srgbClr val="B1DCC1"/>
    <a:srgbClr val="AB8743"/>
    <a:srgbClr val="F4F4F6"/>
    <a:srgbClr val="B3956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70" autoAdjust="0"/>
    <p:restoredTop sz="88843" autoAdjust="0"/>
  </p:normalViewPr>
  <p:slideViewPr>
    <p:cSldViewPr snapToGrid="0">
      <p:cViewPr varScale="1">
        <p:scale>
          <a:sx n="72" d="100"/>
          <a:sy n="72" d="100"/>
        </p:scale>
        <p:origin x="1387" y="62"/>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70" d="100"/>
          <a:sy n="70" d="100"/>
        </p:scale>
        <p:origin x="1711"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hristopher\Chandler%20Institute%20of%20Governance\Info%20(Chandler%20Institute%20of%20Governance)%20-%20CIG\04%20Research\CGGI\001%20Datasets%20and%20Statistics\Index%20Data\Drafts\CGGI%20Data%20Analysis_V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hristopher\Chandler%20Institute%20of%20Governance\Info%20(Chandler%20Institute%20of%20Governance)%20-%20CIG\04%20Research\CGGI\001%20Datasets%20and%20Statistics\Index%20Data\Drafts\CGGI%20Data%20Analysis_V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Christopher\OneDrive%20-%20Chandler%20Institute%20of%20Governance\CGGI%202022%20KAMEL%20DATA.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r>
              <a:rPr lang="en-SG" dirty="0"/>
              <a:t>Correlation between CGGI and Anti-Corruption</a:t>
            </a:r>
          </a:p>
          <a:p>
            <a:pPr>
              <a:defRPr/>
            </a:pPr>
            <a:r>
              <a:rPr lang="en-US" dirty="0"/>
              <a:t>r=0.912</a:t>
            </a:r>
            <a:endParaRPr lang="en-SG"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231416470757951E-2"/>
          <c:y val="0.11975758768240737"/>
          <c:w val="0.90088536466069669"/>
          <c:h val="0.76533027755807126"/>
        </c:manualLayout>
      </c:layout>
      <c:scatterChart>
        <c:scatterStyle val="lineMarker"/>
        <c:varyColors val="0"/>
        <c:ser>
          <c:idx val="0"/>
          <c:order val="0"/>
          <c:spPr>
            <a:ln w="19050" cap="rnd">
              <a:noFill/>
              <a:round/>
            </a:ln>
            <a:effectLst/>
          </c:spPr>
          <c:marker>
            <c:symbol val="circle"/>
            <c:size val="3"/>
            <c:spPr>
              <a:solidFill>
                <a:srgbClr val="21274B"/>
              </a:solidFill>
              <a:ln w="9525">
                <a:solidFill>
                  <a:srgbClr val="21274B"/>
                </a:solidFill>
              </a:ln>
              <a:effectLst/>
            </c:spPr>
          </c:marker>
          <c:dLbls>
            <c:dLbl>
              <c:idx val="0"/>
              <c:layout>
                <c:manualLayout>
                  <c:x val="-2.5101147502924543E-2"/>
                  <c:y val="-1.9700827415692571E-2"/>
                </c:manualLayout>
              </c:layout>
              <c:tx>
                <c:rich>
                  <a:bodyPr/>
                  <a:lstStyle/>
                  <a:p>
                    <a:fld id="{A517DA32-B067-4537-AD1D-FF1693D4F05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EFB8-4DA6-844F-314E56312497}"/>
                </c:ext>
                <c:ext xmlns:c15="http://schemas.microsoft.com/office/drawing/2012/chart" uri="{CE6537A1-D6FC-4f65-9D91-7224C49458BB}">
                  <c15:layout/>
                  <c15:dlblFieldTable/>
                  <c15:showDataLabelsRange val="1"/>
                </c:ext>
              </c:extLst>
            </c:dLbl>
            <c:dLbl>
              <c:idx val="1"/>
              <c:layout/>
              <c:tx>
                <c:rich>
                  <a:bodyPr/>
                  <a:lstStyle/>
                  <a:p>
                    <a:fld id="{61E7F920-CD3F-49B2-98EE-CF2D70D6062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FC5D14A6-23CA-4D4A-ACC2-3008D6E36F4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BD7291E7-9A83-4C37-A4E8-B6AB8FB3897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7AAD6BD8-9E06-437B-934D-C96F3AE0160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manualLayout>
                  <c:x val="-1.4690181523189431E-2"/>
                  <c:y val="-4.8604714963341768E-2"/>
                </c:manualLayout>
              </c:layout>
              <c:tx>
                <c:rich>
                  <a:bodyPr/>
                  <a:lstStyle/>
                  <a:p>
                    <a:fld id="{C2CE2D4F-F284-40D6-8021-94EABAC547D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9-EFB8-4DA6-844F-314E56312497}"/>
                </c:ext>
                <c:ext xmlns:c15="http://schemas.microsoft.com/office/drawing/2012/chart" uri="{CE6537A1-D6FC-4f65-9D91-7224C49458BB}">
                  <c15:layout/>
                  <c15:dlblFieldTable/>
                  <c15:showDataLabelsRange val="1"/>
                </c:ext>
              </c:extLst>
            </c:dLbl>
            <c:dLbl>
              <c:idx val="6"/>
              <c:layout/>
              <c:tx>
                <c:rich>
                  <a:bodyPr/>
                  <a:lstStyle/>
                  <a:p>
                    <a:fld id="{45EF9A01-A1B7-450A-98A2-0E09A5118EE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tx>
                <c:rich>
                  <a:bodyPr/>
                  <a:lstStyle/>
                  <a:p>
                    <a:fld id="{CE36BA80-037B-49F9-BF7E-074B7465FE4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
              <c:layout/>
              <c:tx>
                <c:rich>
                  <a:bodyPr/>
                  <a:lstStyle/>
                  <a:p>
                    <a:fld id="{A5BC7504-6D34-4195-A59B-DDC5E8B3030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
              <c:layout>
                <c:manualLayout>
                  <c:x val="-8.8676213037490556E-2"/>
                  <c:y val="-1.418132973871129E-2"/>
                </c:manualLayout>
              </c:layout>
              <c:tx>
                <c:rich>
                  <a:bodyPr/>
                  <a:lstStyle/>
                  <a:p>
                    <a:fld id="{4696DC54-02FF-43A3-836F-E6BA5C06F85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EFB8-4DA6-844F-314E56312497}"/>
                </c:ext>
                <c:ext xmlns:c15="http://schemas.microsoft.com/office/drawing/2012/chart" uri="{CE6537A1-D6FC-4f65-9D91-7224C49458BB}">
                  <c15:layout/>
                  <c15:dlblFieldTable/>
                  <c15:showDataLabelsRange val="1"/>
                </c:ext>
              </c:extLst>
            </c:dLbl>
            <c:dLbl>
              <c:idx val="10"/>
              <c:layout>
                <c:manualLayout>
                  <c:x val="-3.2175890103408027E-3"/>
                  <c:y val="-3.4824300621366482E-2"/>
                </c:manualLayout>
              </c:layout>
              <c:tx>
                <c:rich>
                  <a:bodyPr/>
                  <a:lstStyle/>
                  <a:p>
                    <a:fld id="{E9A529A1-FFDA-46A8-84C7-1213AD3650B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3-EFB8-4DA6-844F-314E56312497}"/>
                </c:ext>
                <c:ext xmlns:c15="http://schemas.microsoft.com/office/drawing/2012/chart" uri="{CE6537A1-D6FC-4f65-9D91-7224C49458BB}">
                  <c15:layout/>
                  <c15:dlblFieldTable/>
                  <c15:showDataLabelsRange val="1"/>
                </c:ext>
              </c:extLst>
            </c:dLbl>
            <c:dLbl>
              <c:idx val="11"/>
              <c:layout/>
              <c:tx>
                <c:rich>
                  <a:bodyPr/>
                  <a:lstStyle/>
                  <a:p>
                    <a:fld id="{D56EBC47-0D6A-4D42-AC69-4DF6F48A126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2"/>
              <c:layout/>
              <c:tx>
                <c:rich>
                  <a:bodyPr/>
                  <a:lstStyle/>
                  <a:p>
                    <a:fld id="{DD92CCB5-0FAB-41B2-B9DE-BA14428D592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0CA767D3-F298-4B1E-BFF0-E2AE5D9A0C2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tx>
                <c:rich>
                  <a:bodyPr/>
                  <a:lstStyle/>
                  <a:p>
                    <a:fld id="{396761C2-7F91-4C6B-A3DA-3D5F1129E3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5"/>
              <c:layout/>
              <c:tx>
                <c:rich>
                  <a:bodyPr/>
                  <a:lstStyle/>
                  <a:p>
                    <a:fld id="{C2EFEB8D-0DD4-436A-858F-2296FDC21BF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6"/>
              <c:layout/>
              <c:tx>
                <c:rich>
                  <a:bodyPr/>
                  <a:lstStyle/>
                  <a:p>
                    <a:fld id="{77CB41D2-1BE2-4481-BDA1-A383F3EE812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CCDD4CD9-6B28-4CF4-8616-1D897A86ABC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tx>
                <c:rich>
                  <a:bodyPr/>
                  <a:lstStyle/>
                  <a:p>
                    <a:fld id="{3AAFA8EF-C2DC-4F5F-903F-57FEC35A39F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9"/>
              <c:layout/>
              <c:tx>
                <c:rich>
                  <a:bodyPr/>
                  <a:lstStyle/>
                  <a:p>
                    <a:fld id="{3FB8B9C8-EE11-46DB-8679-C0777F45196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4C199CE3-915C-4713-BFC7-9B47C2208B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tx>
                <c:rich>
                  <a:bodyPr/>
                  <a:lstStyle/>
                  <a:p>
                    <a:fld id="{D4CFC3A4-F51E-4640-93AB-DF3881F7A8D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2"/>
              <c:layout/>
              <c:tx>
                <c:rich>
                  <a:bodyPr/>
                  <a:lstStyle/>
                  <a:p>
                    <a:fld id="{66314F2C-2B85-4763-9F93-62F917FF093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7B1E50E5-5D1F-4CF0-BFF3-09C6CFDD864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manualLayout>
                  <c:x val="-5.2062507466319852E-2"/>
                  <c:y val="-7.6563890161887915E-2"/>
                </c:manualLayout>
              </c:layout>
              <c:tx>
                <c:rich>
                  <a:bodyPr/>
                  <a:lstStyle/>
                  <a:p>
                    <a:fld id="{CAE5753A-37B3-4D42-A542-59F61A4C521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EFB8-4DA6-844F-314E56312497}"/>
                </c:ext>
                <c:ext xmlns:c15="http://schemas.microsoft.com/office/drawing/2012/chart" uri="{CE6537A1-D6FC-4f65-9D91-7224C49458BB}">
                  <c15:layout/>
                  <c15:dlblFieldTable/>
                  <c15:showDataLabelsRange val="1"/>
                </c:ext>
              </c:extLst>
            </c:dLbl>
            <c:dLbl>
              <c:idx val="25"/>
              <c:layout/>
              <c:tx>
                <c:rich>
                  <a:bodyPr/>
                  <a:lstStyle/>
                  <a:p>
                    <a:fld id="{505627AD-D7A5-45D0-8502-663BD436488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manualLayout>
                  <c:x val="3.3976432350070661E-2"/>
                  <c:y val="-6.3282010054430708E-3"/>
                </c:manualLayout>
              </c:layout>
              <c:tx>
                <c:rich>
                  <a:bodyPr/>
                  <a:lstStyle/>
                  <a:p>
                    <a:fld id="{40FD1C05-2311-4E43-BAA8-23AB456179F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EFB8-4DA6-844F-314E56312497}"/>
                </c:ext>
                <c:ext xmlns:c15="http://schemas.microsoft.com/office/drawing/2012/chart" uri="{CE6537A1-D6FC-4f65-9D91-7224C49458BB}">
                  <c15:layout/>
                  <c15:dlblFieldTable/>
                  <c15:showDataLabelsRange val="1"/>
                </c:ext>
              </c:extLst>
            </c:dLbl>
            <c:dLbl>
              <c:idx val="27"/>
              <c:layout/>
              <c:tx>
                <c:rich>
                  <a:bodyPr/>
                  <a:lstStyle/>
                  <a:p>
                    <a:fld id="{1FD254C0-5B0D-4EF6-808E-F534A80F421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4FFEF781-6215-411F-937C-7FEC38BE6B1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manualLayout>
                  <c:x val="-5.1329286681888672E-2"/>
                  <c:y val="-3.6204092983123354E-2"/>
                </c:manualLayout>
              </c:layout>
              <c:tx>
                <c:rich>
                  <a:bodyPr/>
                  <a:lstStyle/>
                  <a:p>
                    <a:fld id="{47AE7115-4BEE-49FB-A795-4D1C2611A1F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EFB8-4DA6-844F-314E56312497}"/>
                </c:ext>
                <c:ext xmlns:c15="http://schemas.microsoft.com/office/drawing/2012/chart" uri="{CE6537A1-D6FC-4f65-9D91-7224C49458BB}">
                  <c15:layout/>
                  <c15:dlblFieldTable/>
                  <c15:showDataLabelsRange val="1"/>
                </c:ext>
              </c:extLst>
            </c:dLbl>
            <c:dLbl>
              <c:idx val="30"/>
              <c:layout/>
              <c:tx>
                <c:rich>
                  <a:bodyPr/>
                  <a:lstStyle/>
                  <a:p>
                    <a:fld id="{546CD30C-D9D1-48EA-8022-80D5827E1AC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tx>
                <c:rich>
                  <a:bodyPr/>
                  <a:lstStyle/>
                  <a:p>
                    <a:fld id="{C8C8DB50-2623-4087-86DC-8A40EEF1B7C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2"/>
              <c:layout/>
              <c:tx>
                <c:rich>
                  <a:bodyPr/>
                  <a:lstStyle/>
                  <a:p>
                    <a:fld id="{1A1F9516-383E-497E-94AC-F7B65F7F40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tx>
                <c:rich>
                  <a:bodyPr/>
                  <a:lstStyle/>
                  <a:p>
                    <a:fld id="{B2832E26-5C99-4859-AAE9-78A4E7831B1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4"/>
              <c:layout/>
              <c:tx>
                <c:rich>
                  <a:bodyPr/>
                  <a:lstStyle/>
                  <a:p>
                    <a:fld id="{5AD42089-4FC0-48E0-974E-E09C9CD32D1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5"/>
              <c:layout>
                <c:manualLayout>
                  <c:x val="-5.3442621472797804E-2"/>
                  <c:y val="-4.6307903288264812E-2"/>
                </c:manualLayout>
              </c:layout>
              <c:tx>
                <c:rich>
                  <a:bodyPr/>
                  <a:lstStyle/>
                  <a:p>
                    <a:fld id="{F682096A-B791-41B9-9A92-43B0F9ECF82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6-EFB8-4DA6-844F-314E56312497}"/>
                </c:ext>
                <c:ext xmlns:c15="http://schemas.microsoft.com/office/drawing/2012/chart" uri="{CE6537A1-D6FC-4f65-9D91-7224C49458BB}">
                  <c15:layout/>
                  <c15:dlblFieldTable/>
                  <c15:showDataLabelsRange val="1"/>
                </c:ext>
              </c:extLst>
            </c:dLbl>
            <c:dLbl>
              <c:idx val="36"/>
              <c:layout/>
              <c:tx>
                <c:rich>
                  <a:bodyPr/>
                  <a:lstStyle/>
                  <a:p>
                    <a:fld id="{17C34430-9493-4D11-8491-B7F70999370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7"/>
              <c:layout>
                <c:manualLayout>
                  <c:x val="-2.4467778180990461E-2"/>
                  <c:y val="-4.1705181505600285E-2"/>
                </c:manualLayout>
              </c:layout>
              <c:tx>
                <c:rich>
                  <a:bodyPr/>
                  <a:lstStyle/>
                  <a:p>
                    <a:fld id="{9133B470-3462-4FC3-B35D-E7F02750E31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B-EFB8-4DA6-844F-314E56312497}"/>
                </c:ext>
                <c:ext xmlns:c15="http://schemas.microsoft.com/office/drawing/2012/chart" uri="{CE6537A1-D6FC-4f65-9D91-7224C49458BB}">
                  <c15:layout/>
                  <c15:dlblFieldTable/>
                  <c15:showDataLabelsRange val="1"/>
                </c:ext>
              </c:extLst>
            </c:dLbl>
            <c:dLbl>
              <c:idx val="38"/>
              <c:layout/>
              <c:tx>
                <c:rich>
                  <a:bodyPr/>
                  <a:lstStyle/>
                  <a:p>
                    <a:fld id="{3C645F54-D098-446F-8FF9-762C11B3968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tx>
                <c:rich>
                  <a:bodyPr/>
                  <a:lstStyle/>
                  <a:p>
                    <a:fld id="{FB72E6B0-1411-4328-A581-77FCB5B7C22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0"/>
              <c:layout>
                <c:manualLayout>
                  <c:x val="-1.527015329213723E-3"/>
                  <c:y val="2.718756391752223E-2"/>
                </c:manualLayout>
              </c:layout>
              <c:tx>
                <c:rich>
                  <a:bodyPr/>
                  <a:lstStyle/>
                  <a:p>
                    <a:fld id="{A3642167-5C09-47B1-81FB-0986D5619C7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EFB8-4DA6-844F-314E56312497}"/>
                </c:ext>
                <c:ext xmlns:c15="http://schemas.microsoft.com/office/drawing/2012/chart" uri="{CE6537A1-D6FC-4f65-9D91-7224C49458BB}">
                  <c15:layout/>
                  <c15:dlblFieldTable/>
                  <c15:showDataLabelsRange val="1"/>
                </c:ext>
              </c:extLst>
            </c:dLbl>
            <c:dLbl>
              <c:idx val="41"/>
              <c:layout/>
              <c:tx>
                <c:rich>
                  <a:bodyPr/>
                  <a:lstStyle/>
                  <a:p>
                    <a:fld id="{4C764AC5-DF4D-4551-8EC9-B883EE84A77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tx>
                <c:rich>
                  <a:bodyPr/>
                  <a:lstStyle/>
                  <a:p>
                    <a:fld id="{EC2BC7B0-3749-4BA0-8143-D72DDC84D6A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3"/>
              <c:layout>
                <c:manualLayout>
                  <c:x val="-3.2471275324028701E-2"/>
                  <c:y val="2.718756391752223E-2"/>
                </c:manualLayout>
              </c:layout>
              <c:tx>
                <c:rich>
                  <a:bodyPr/>
                  <a:lstStyle/>
                  <a:p>
                    <a:fld id="{4EADF98D-AACC-4C8D-85CE-88A97B905F0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EFB8-4DA6-844F-314E56312497}"/>
                </c:ext>
                <c:ext xmlns:c15="http://schemas.microsoft.com/office/drawing/2012/chart" uri="{CE6537A1-D6FC-4f65-9D91-7224C49458BB}">
                  <c15:layout/>
                  <c15:dlblFieldTable/>
                  <c15:showDataLabelsRange val="1"/>
                </c:ext>
              </c:extLst>
            </c:dLbl>
            <c:dLbl>
              <c:idx val="44"/>
              <c:layout/>
              <c:tx>
                <c:rich>
                  <a:bodyPr/>
                  <a:lstStyle/>
                  <a:p>
                    <a:fld id="{76EC50FF-19A4-46F8-A083-A3E947B2B5A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5"/>
              <c:layout>
                <c:manualLayout>
                  <c:x val="9.78459389973034E-3"/>
                  <c:y val="-3.732647664283065E-4"/>
                </c:manualLayout>
              </c:layout>
              <c:tx>
                <c:rich>
                  <a:bodyPr/>
                  <a:lstStyle/>
                  <a:p>
                    <a:fld id="{6484A74C-996C-4BBA-9FB8-CB22EE59A8C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2-EFB8-4DA6-844F-314E56312497}"/>
                </c:ext>
                <c:ext xmlns:c15="http://schemas.microsoft.com/office/drawing/2012/chart" uri="{CE6537A1-D6FC-4f65-9D91-7224C49458BB}">
                  <c15:layout/>
                  <c15:dlblFieldTable/>
                  <c15:showDataLabelsRange val="1"/>
                </c:ext>
              </c:extLst>
            </c:dLbl>
            <c:dLbl>
              <c:idx val="46"/>
              <c:layout/>
              <c:tx>
                <c:rich>
                  <a:bodyPr/>
                  <a:lstStyle/>
                  <a:p>
                    <a:fld id="{E33C70B0-37CC-4FEA-9722-433A77238E0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7"/>
              <c:layout/>
              <c:tx>
                <c:rich>
                  <a:bodyPr/>
                  <a:lstStyle/>
                  <a:p>
                    <a:fld id="{AC6CDB30-99C6-4106-9302-D415585C569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8"/>
              <c:layout/>
              <c:tx>
                <c:rich>
                  <a:bodyPr/>
                  <a:lstStyle/>
                  <a:p>
                    <a:fld id="{E08C0429-28B1-489A-8ABB-A6DA728731E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9"/>
              <c:layout/>
              <c:tx>
                <c:rich>
                  <a:bodyPr/>
                  <a:lstStyle/>
                  <a:p>
                    <a:fld id="{ACC8F7A7-63F6-41C2-9F71-0A9EE25ACEF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0"/>
              <c:layout>
                <c:manualLayout>
                  <c:x val="-4.4434376759197092E-2"/>
                  <c:y val="-2.5637357726716298E-2"/>
                </c:manualLayout>
              </c:layout>
              <c:tx>
                <c:rich>
                  <a:bodyPr/>
                  <a:lstStyle/>
                  <a:p>
                    <a:fld id="{D30990F8-D4CC-4E4F-81A8-4D055024385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EFB8-4DA6-844F-314E56312497}"/>
                </c:ext>
                <c:ext xmlns:c15="http://schemas.microsoft.com/office/drawing/2012/chart" uri="{CE6537A1-D6FC-4f65-9D91-7224C49458BB}">
                  <c15:layout/>
                  <c15:dlblFieldTable/>
                  <c15:showDataLabelsRange val="1"/>
                </c:ext>
              </c:extLst>
            </c:dLbl>
            <c:dLbl>
              <c:idx val="51"/>
              <c:layout/>
              <c:tx>
                <c:rich>
                  <a:bodyPr/>
                  <a:lstStyle/>
                  <a:p>
                    <a:fld id="{1EEE8C65-C7F3-4F24-99F6-87D35794847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2"/>
              <c:layout/>
              <c:tx>
                <c:rich>
                  <a:bodyPr/>
                  <a:lstStyle/>
                  <a:p>
                    <a:fld id="{F765A31F-C2D7-40A1-9EC1-FDE9D5FDEA2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3"/>
              <c:layout/>
              <c:tx>
                <c:rich>
                  <a:bodyPr/>
                  <a:lstStyle/>
                  <a:p>
                    <a:fld id="{9D25CDA8-E444-4A93-ADA1-F80A9321AB2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4"/>
              <c:layout/>
              <c:tx>
                <c:rich>
                  <a:bodyPr/>
                  <a:lstStyle/>
                  <a:p>
                    <a:fld id="{78504D65-02D9-4155-A25A-C2C1686D158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5"/>
              <c:layout/>
              <c:tx>
                <c:rich>
                  <a:bodyPr/>
                  <a:lstStyle/>
                  <a:p>
                    <a:fld id="{24DC38C6-E8D4-4A9E-88C2-B492B0516D5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6"/>
              <c:layout/>
              <c:tx>
                <c:rich>
                  <a:bodyPr/>
                  <a:lstStyle/>
                  <a:p>
                    <a:fld id="{FC554B28-0BC5-4415-A25C-C3FBFC5732E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7"/>
              <c:layout/>
              <c:tx>
                <c:rich>
                  <a:bodyPr/>
                  <a:lstStyle/>
                  <a:p>
                    <a:fld id="{ABB308EB-EDF6-4B44-A7C1-D8A622FDE94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tx>
                <c:rich>
                  <a:bodyPr/>
                  <a:lstStyle/>
                  <a:p>
                    <a:fld id="{BED79173-41F1-45BA-9F50-DA95CE64827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6.4972986009525335E-2"/>
                  <c:y val="-6.3709535595508099E-2"/>
                </c:manualLayout>
              </c:layout>
              <c:tx>
                <c:rich>
                  <a:bodyPr/>
                  <a:lstStyle/>
                  <a:p>
                    <a:fld id="{27BDCA3C-EDD0-4B2D-AE2B-74C83DF5B70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0-EFB8-4DA6-844F-314E56312497}"/>
                </c:ext>
                <c:ext xmlns:c15="http://schemas.microsoft.com/office/drawing/2012/chart" uri="{CE6537A1-D6FC-4f65-9D91-7224C49458BB}">
                  <c15:layout/>
                  <c15:dlblFieldTable/>
                  <c15:showDataLabelsRange val="1"/>
                </c:ext>
              </c:extLst>
            </c:dLbl>
            <c:dLbl>
              <c:idx val="60"/>
              <c:layout>
                <c:manualLayout>
                  <c:x val="-7.813005033144825E-2"/>
                  <c:y val="-2.2451371676931033E-2"/>
                </c:manualLayout>
              </c:layout>
              <c:tx>
                <c:rich>
                  <a:bodyPr/>
                  <a:lstStyle/>
                  <a:p>
                    <a:fld id="{7543AB7A-3AE5-448E-A2EA-9F3892F9D60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1-EFB8-4DA6-844F-314E56312497}"/>
                </c:ext>
                <c:ext xmlns:c15="http://schemas.microsoft.com/office/drawing/2012/chart" uri="{CE6537A1-D6FC-4f65-9D91-7224C49458BB}">
                  <c15:layout/>
                  <c15:dlblFieldTable/>
                  <c15:showDataLabelsRange val="1"/>
                </c:ext>
              </c:extLst>
            </c:dLbl>
            <c:dLbl>
              <c:idx val="61"/>
              <c:layout/>
              <c:tx>
                <c:rich>
                  <a:bodyPr/>
                  <a:lstStyle/>
                  <a:p>
                    <a:fld id="{5BB70BF7-771E-4514-8E12-D6775F909E3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124C1AA9-E7D3-4F36-8A15-A9A1EAF5CDC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E4FCFC9F-FF03-4ABA-BA15-A22CA447700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manualLayout>
                  <c:x val="1.3500666236547243E-2"/>
                  <c:y val="4.3264713983160043E-2"/>
                </c:manualLayout>
              </c:layout>
              <c:tx>
                <c:rich>
                  <a:bodyPr/>
                  <a:lstStyle/>
                  <a:p>
                    <a:fld id="{01B1EFDD-0BE4-40FC-B84C-FC19907604B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3-EFB8-4DA6-844F-314E56312497}"/>
                </c:ext>
                <c:ext xmlns:c15="http://schemas.microsoft.com/office/drawing/2012/chart" uri="{CE6537A1-D6FC-4f65-9D91-7224C49458BB}">
                  <c15:layout/>
                  <c15:dlblFieldTable/>
                  <c15:showDataLabelsRange val="1"/>
                </c:ext>
              </c:extLst>
            </c:dLbl>
            <c:dLbl>
              <c:idx val="65"/>
              <c:layout>
                <c:manualLayout>
                  <c:x val="-7.1224070739013517E-2"/>
                  <c:y val="-3.0703004460646437E-2"/>
                </c:manualLayout>
              </c:layout>
              <c:tx>
                <c:rich>
                  <a:bodyPr/>
                  <a:lstStyle/>
                  <a:p>
                    <a:fld id="{59A6A65B-5D61-4786-99AF-86112C00462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5-EFB8-4DA6-844F-314E56312497}"/>
                </c:ext>
                <c:ext xmlns:c15="http://schemas.microsoft.com/office/drawing/2012/chart" uri="{CE6537A1-D6FC-4f65-9D91-7224C49458BB}">
                  <c15:layout/>
                  <c15:dlblFieldTable/>
                  <c15:showDataLabelsRange val="1"/>
                </c:ext>
              </c:extLst>
            </c:dLbl>
            <c:dLbl>
              <c:idx val="66"/>
              <c:layout/>
              <c:tx>
                <c:rich>
                  <a:bodyPr/>
                  <a:lstStyle/>
                  <a:p>
                    <a:fld id="{BE590BF1-8197-4D38-8F47-E67A2213341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4BBCAA9A-CDC5-4DD9-BB33-5991B475404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23128569-0F0B-449E-9390-AB856D56BBA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31DC39D8-FA45-4EA1-B3E7-08C366C8144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F4FB1811-3ECD-44D6-9CA9-1F01B6B7F1A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1999E925-2C6B-4F4C-9CA8-029225EA341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6CF40BE3-E1F9-4542-B4F6-2A9BC20D58A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manualLayout>
                  <c:x val="-5.7940359265181915E-2"/>
                  <c:y val="-3.023082917404139E-2"/>
                </c:manualLayout>
              </c:layout>
              <c:tx>
                <c:rich>
                  <a:bodyPr/>
                  <a:lstStyle/>
                  <a:p>
                    <a:fld id="{B3E1B110-1C98-400F-A234-5282EBEA582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D-EFB8-4DA6-844F-314E56312497}"/>
                </c:ext>
                <c:ext xmlns:c15="http://schemas.microsoft.com/office/drawing/2012/chart" uri="{CE6537A1-D6FC-4f65-9D91-7224C49458BB}">
                  <c15:layout/>
                  <c15:dlblFieldTable/>
                  <c15:showDataLabelsRange val="1"/>
                </c:ext>
              </c:extLst>
            </c:dLbl>
            <c:dLbl>
              <c:idx val="74"/>
              <c:layout/>
              <c:tx>
                <c:rich>
                  <a:bodyPr/>
                  <a:lstStyle/>
                  <a:p>
                    <a:fld id="{74651CF7-DD82-45AE-A4A0-82AFA0111AC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74208198-5061-4060-81D4-2B118E5C7A0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manualLayout>
                  <c:x val="-3.9907676841898845E-2"/>
                  <c:y val="-4.4455725766838747E-2"/>
                </c:manualLayout>
              </c:layout>
              <c:tx>
                <c:rich>
                  <a:bodyPr/>
                  <a:lstStyle/>
                  <a:p>
                    <a:fld id="{A6EB1735-A5C8-43C6-8985-2C5811E9F7F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0-EFB8-4DA6-844F-314E56312497}"/>
                </c:ext>
                <c:ext xmlns:c15="http://schemas.microsoft.com/office/drawing/2012/chart" uri="{CE6537A1-D6FC-4f65-9D91-7224C49458BB}">
                  <c15:layout/>
                  <c15:dlblFieldTable/>
                  <c15:showDataLabelsRange val="1"/>
                </c:ext>
              </c:extLst>
            </c:dLbl>
            <c:dLbl>
              <c:idx val="77"/>
              <c:layout/>
              <c:tx>
                <c:rich>
                  <a:bodyPr/>
                  <a:lstStyle/>
                  <a:p>
                    <a:fld id="{90B18747-EB3A-4D95-80D0-BD5ED92C4F1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D05363AE-0F66-4091-BB6B-C81E0DE7B2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2A6634F2-315A-4983-B6E1-A496760EE64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manualLayout>
                  <c:x val="1.6710130978972591E-2"/>
                  <c:y val="-3.0703004460646426E-2"/>
                </c:manualLayout>
              </c:layout>
              <c:tx>
                <c:rich>
                  <a:bodyPr/>
                  <a:lstStyle/>
                  <a:p>
                    <a:fld id="{70137C61-8C1D-4FCB-914C-7DB049D8B2E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4-EFB8-4DA6-844F-314E56312497}"/>
                </c:ext>
                <c:ext xmlns:c15="http://schemas.microsoft.com/office/drawing/2012/chart" uri="{CE6537A1-D6FC-4f65-9D91-7224C49458BB}">
                  <c15:layout/>
                  <c15:dlblFieldTable/>
                  <c15:showDataLabelsRange val="1"/>
                </c:ext>
              </c:extLst>
            </c:dLbl>
            <c:dLbl>
              <c:idx val="81"/>
              <c:layout>
                <c:manualLayout>
                  <c:x val="-1.2397922728942828E-2"/>
                  <c:y val="-3.7547094948787912E-2"/>
                </c:manualLayout>
              </c:layout>
              <c:tx>
                <c:rich>
                  <a:bodyPr/>
                  <a:lstStyle/>
                  <a:p>
                    <a:fld id="{FD077185-82AB-4D3D-A7F0-C0A33D8729E1}" type="CELLRANGE">
                      <a:rPr lang="en-US" dirty="0"/>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2-EFB8-4DA6-844F-314E56312497}"/>
                </c:ext>
                <c:ext xmlns:c15="http://schemas.microsoft.com/office/drawing/2012/chart" uri="{CE6537A1-D6FC-4f65-9D91-7224C49458BB}">
                  <c15:layout/>
                  <c15:dlblFieldTable/>
                  <c15:showDataLabelsRange val="1"/>
                </c:ext>
              </c:extLst>
            </c:dLbl>
            <c:dLbl>
              <c:idx val="82"/>
              <c:layout/>
              <c:tx>
                <c:rich>
                  <a:bodyPr/>
                  <a:lstStyle/>
                  <a:p>
                    <a:fld id="{FAC5D906-9EC6-4E0E-84D1-8E7586AC9B8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37A20CBA-5C56-4A1A-B927-CC213FE805F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8D25F242-B387-4B5C-9F67-7765F676AEA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4118449C-F1AE-48EF-BD9C-B29C0FA31C7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085FD8F7-0ECA-4449-9F19-A393F49B3EF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1B48D19B-6EE3-42CA-8797-754E6EA973F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manualLayout>
                  <c:x val="-1.7960684027776728E-3"/>
                  <c:y val="3.4077771088509866E-2"/>
                </c:manualLayout>
              </c:layout>
              <c:tx>
                <c:rich>
                  <a:bodyPr/>
                  <a:lstStyle/>
                  <a:p>
                    <a:fld id="{EDD619A0-634E-4DFA-8B70-D18325FAC92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EFB8-4DA6-844F-314E56312497}"/>
                </c:ext>
                <c:ext xmlns:c15="http://schemas.microsoft.com/office/drawing/2012/chart" uri="{CE6537A1-D6FC-4f65-9D91-7224C49458BB}">
                  <c15:layout/>
                  <c15:dlblFieldTable/>
                  <c15:showDataLabelsRange val="1"/>
                </c:ext>
              </c:extLst>
            </c:dLbl>
            <c:dLbl>
              <c:idx val="89"/>
              <c:layout/>
              <c:tx>
                <c:rich>
                  <a:bodyPr/>
                  <a:lstStyle/>
                  <a:p>
                    <a:fld id="{50EF5978-2D6B-499A-9CE7-3C70361C532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FC9885BB-C7FC-424C-9BCC-C40FB19E173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manualLayout>
                  <c:x val="1.5637347602550606E-2"/>
                  <c:y val="6.0631091805803776E-3"/>
                </c:manualLayout>
              </c:layout>
              <c:tx>
                <c:rich>
                  <a:bodyPr/>
                  <a:lstStyle/>
                  <a:p>
                    <a:fld id="{224AE679-8A1A-49E8-9C43-1F87DB3FC86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D-EFB8-4DA6-844F-314E56312497}"/>
                </c:ext>
                <c:ext xmlns:c15="http://schemas.microsoft.com/office/drawing/2012/chart" uri="{CE6537A1-D6FC-4f65-9D91-7224C49458BB}">
                  <c15:layout/>
                  <c15:dlblFieldTable/>
                  <c15:showDataLabelsRange val="1"/>
                </c:ext>
              </c:extLst>
            </c:dLbl>
            <c:dLbl>
              <c:idx val="92"/>
              <c:layout/>
              <c:tx>
                <c:rich>
                  <a:bodyPr/>
                  <a:lstStyle/>
                  <a:p>
                    <a:fld id="{9CC2D2DC-0C57-4DA6-A531-A9C9888FC9B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9BC9A0B5-E560-4103-91B3-1A89298945F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59EC4858-4AF1-4EED-B825-CBB088240E4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C78A56FB-F72B-43AD-A4B9-A34AA29B049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1B7D720A-2C64-463C-BBC0-5AD3FC21D33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manualLayout>
                  <c:x val="7.0497055409731949E-3"/>
                  <c:y val="3.4077771088509866E-2"/>
                </c:manualLayout>
              </c:layout>
              <c:tx>
                <c:rich>
                  <a:bodyPr/>
                  <a:lstStyle/>
                  <a:p>
                    <a:fld id="{E95DECD1-D1E8-488A-91C7-1C945D3FC8C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5-EFB8-4DA6-844F-314E56312497}"/>
                </c:ext>
                <c:ext xmlns:c15="http://schemas.microsoft.com/office/drawing/2012/chart" uri="{CE6537A1-D6FC-4f65-9D91-7224C49458BB}">
                  <c15:layout/>
                  <c15:dlblFieldTable/>
                  <c15:showDataLabelsRange val="1"/>
                </c:ext>
              </c:extLst>
            </c:dLbl>
            <c:dLbl>
              <c:idx val="98"/>
              <c:layout>
                <c:manualLayout>
                  <c:x val="1.8461576288838681E-3"/>
                  <c:y val="1.1110413851884417E-2"/>
                </c:manualLayout>
              </c:layout>
              <c:tx>
                <c:rich>
                  <a:bodyPr/>
                  <a:lstStyle/>
                  <a:p>
                    <a:fld id="{8331EF2B-B7E9-446A-B905-E4187FC5C1C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63-EFB8-4DA6-844F-314E56312497}"/>
                </c:ext>
                <c:ext xmlns:c15="http://schemas.microsoft.com/office/drawing/2012/chart" uri="{CE6537A1-D6FC-4f65-9D91-7224C49458BB}">
                  <c15:layout/>
                  <c15:dlblFieldTable/>
                  <c15:showDataLabelsRange val="1"/>
                </c:ext>
              </c:extLst>
            </c:dLbl>
            <c:dLbl>
              <c:idx val="99"/>
              <c:layout/>
              <c:tx>
                <c:rich>
                  <a:bodyPr/>
                  <a:lstStyle/>
                  <a:p>
                    <a:fld id="{3EB2B3CD-7FF2-4FEC-A015-570D53B82C8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80846078-C9C6-4B78-8BC7-27461B0D5E7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manualLayout>
                  <c:x val="-3.4493946927708095E-2"/>
                  <c:y val="8.6819521847118247E-2"/>
                </c:manualLayout>
              </c:layout>
              <c:tx>
                <c:rich>
                  <a:bodyPr/>
                  <a:lstStyle/>
                  <a:p>
                    <a:fld id="{BBF079F7-FB39-4515-A15D-0B47D460076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66-EFB8-4DA6-844F-314E56312497}"/>
                </c:ext>
                <c:ext xmlns:c15="http://schemas.microsoft.com/office/drawing/2012/chart" uri="{CE6537A1-D6FC-4f65-9D91-7224C49458BB}">
                  <c15:layout/>
                  <c15:dlblFieldTable/>
                  <c15:showDataLabelsRange val="1"/>
                </c:ext>
              </c:extLst>
            </c:dLbl>
            <c:dLbl>
              <c:idx val="102"/>
              <c:layout/>
              <c:tx>
                <c:rich>
                  <a:bodyPr/>
                  <a:lstStyle/>
                  <a:p>
                    <a:fld id="{F8BE8918-4EF1-4EF6-8B21-DF604BABF79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3"/>
              <c:layout/>
              <c:tx>
                <c:rich>
                  <a:bodyPr/>
                  <a:lstStyle/>
                  <a:p>
                    <a:fld id="{93D3511D-E28F-4E67-BA0F-390D3C8AACB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C59C65"/>
                </a:solidFill>
                <a:prstDash val="sysDot"/>
              </a:ln>
              <a:effectLst/>
            </c:spPr>
            <c:trendlineType val="linear"/>
            <c:dispRSqr val="0"/>
            <c:dispEq val="0"/>
          </c:trendline>
          <c:xVal>
            <c:numRef>
              <c:f>'High Correlation Charts'!$D$4:$D$107</c:f>
              <c:numCache>
                <c:formatCode>0.000</c:formatCode>
                <c:ptCount val="104"/>
                <c:pt idx="0">
                  <c:v>0.51145370908116516</c:v>
                </c:pt>
                <c:pt idx="1">
                  <c:v>0.37818213979151782</c:v>
                </c:pt>
                <c:pt idx="2">
                  <c:v>0.47916304971595591</c:v>
                </c:pt>
                <c:pt idx="3">
                  <c:v>0.49584591214658857</c:v>
                </c:pt>
                <c:pt idx="4">
                  <c:v>0.73851876127497984</c:v>
                </c:pt>
                <c:pt idx="5">
                  <c:v>0.76194591493634634</c:v>
                </c:pt>
                <c:pt idx="6">
                  <c:v>0.7199623509513946</c:v>
                </c:pt>
                <c:pt idx="7">
                  <c:v>0.41229942196928132</c:v>
                </c:pt>
                <c:pt idx="8">
                  <c:v>0.48447090505748441</c:v>
                </c:pt>
                <c:pt idx="9">
                  <c:v>0.48418860226549293</c:v>
                </c:pt>
                <c:pt idx="10">
                  <c:v>0.60144272943576493</c:v>
                </c:pt>
                <c:pt idx="11">
                  <c:v>0.33549858170588637</c:v>
                </c:pt>
                <c:pt idx="12">
                  <c:v>0.37024206555669209</c:v>
                </c:pt>
                <c:pt idx="13">
                  <c:v>0.76017510813076461</c:v>
                </c:pt>
                <c:pt idx="14">
                  <c:v>0.63924611662850594</c:v>
                </c:pt>
                <c:pt idx="15">
                  <c:v>0.56333486980397451</c:v>
                </c:pt>
                <c:pt idx="16">
                  <c:v>0.50737267822728771</c:v>
                </c:pt>
                <c:pt idx="17">
                  <c:v>0.55042561666866585</c:v>
                </c:pt>
                <c:pt idx="18">
                  <c:v>0.59134596492957692</c:v>
                </c:pt>
                <c:pt idx="19">
                  <c:v>0.71583803709397831</c:v>
                </c:pt>
                <c:pt idx="20">
                  <c:v>0.82750872390800956</c:v>
                </c:pt>
                <c:pt idx="21">
                  <c:v>0.38722024104528457</c:v>
                </c:pt>
                <c:pt idx="22">
                  <c:v>0.42352511385041158</c:v>
                </c:pt>
                <c:pt idx="23">
                  <c:v>0.41848136709880801</c:v>
                </c:pt>
                <c:pt idx="24">
                  <c:v>0.75474335411098403</c:v>
                </c:pt>
                <c:pt idx="25">
                  <c:v>0.33528477736247619</c:v>
                </c:pt>
                <c:pt idx="26">
                  <c:v>0.84225910374396185</c:v>
                </c:pt>
                <c:pt idx="27">
                  <c:v>0.74443054436674339</c:v>
                </c:pt>
                <c:pt idx="28">
                  <c:v>0.55644171296769329</c:v>
                </c:pt>
                <c:pt idx="29">
                  <c:v>0.80394810284477003</c:v>
                </c:pt>
                <c:pt idx="30">
                  <c:v>0.41858082397612018</c:v>
                </c:pt>
                <c:pt idx="31">
                  <c:v>0.53406429153231427</c:v>
                </c:pt>
                <c:pt idx="32">
                  <c:v>0.38030310863406164</c:v>
                </c:pt>
                <c:pt idx="33">
                  <c:v>0.42241757404561486</c:v>
                </c:pt>
                <c:pt idx="34">
                  <c:v>0.61147964939420807</c:v>
                </c:pt>
                <c:pt idx="35">
                  <c:v>0.7304297428715415</c:v>
                </c:pt>
                <c:pt idx="36">
                  <c:v>0.51248629632226805</c:v>
                </c:pt>
                <c:pt idx="37">
                  <c:v>0.53178103422097822</c:v>
                </c:pt>
                <c:pt idx="38">
                  <c:v>0.31953249657412686</c:v>
                </c:pt>
                <c:pt idx="39">
                  <c:v>0.77056542946431261</c:v>
                </c:pt>
                <c:pt idx="40">
                  <c:v>0.67578842341540779</c:v>
                </c:pt>
                <c:pt idx="41">
                  <c:v>0.60686017627843469</c:v>
                </c:pt>
                <c:pt idx="42">
                  <c:v>0.48749113669847938</c:v>
                </c:pt>
                <c:pt idx="43">
                  <c:v>0.75380695864422986</c:v>
                </c:pt>
                <c:pt idx="44">
                  <c:v>0.45872408657037189</c:v>
                </c:pt>
                <c:pt idx="45">
                  <c:v>0.5506277198107139</c:v>
                </c:pt>
                <c:pt idx="46">
                  <c:v>0.40551360218379173</c:v>
                </c:pt>
                <c:pt idx="47">
                  <c:v>0.41150944534554484</c:v>
                </c:pt>
                <c:pt idx="48">
                  <c:v>0.64844343800766391</c:v>
                </c:pt>
                <c:pt idx="49">
                  <c:v>0.34403921313388458</c:v>
                </c:pt>
                <c:pt idx="50">
                  <c:v>0.66101684875347022</c:v>
                </c:pt>
                <c:pt idx="51">
                  <c:v>0.34813094445848292</c:v>
                </c:pt>
                <c:pt idx="52">
                  <c:v>0.34764083056751849</c:v>
                </c:pt>
                <c:pt idx="53">
                  <c:v>0.62553572103761257</c:v>
                </c:pt>
                <c:pt idx="54">
                  <c:v>0.30905078990344681</c:v>
                </c:pt>
                <c:pt idx="55">
                  <c:v>0.57922209785358547</c:v>
                </c:pt>
                <c:pt idx="56">
                  <c:v>0.53275031407658135</c:v>
                </c:pt>
                <c:pt idx="57">
                  <c:v>0.46702578146375234</c:v>
                </c:pt>
                <c:pt idx="58">
                  <c:v>0.4227288830877946</c:v>
                </c:pt>
                <c:pt idx="59">
                  <c:v>0.53263535570855935</c:v>
                </c:pt>
                <c:pt idx="60">
                  <c:v>0.48465379612116355</c:v>
                </c:pt>
                <c:pt idx="61">
                  <c:v>0.32022676993278065</c:v>
                </c:pt>
                <c:pt idx="62">
                  <c:v>0.40824357968900266</c:v>
                </c:pt>
                <c:pt idx="63">
                  <c:v>0.34444667235933507</c:v>
                </c:pt>
                <c:pt idx="64">
                  <c:v>0.82145388584203483</c:v>
                </c:pt>
                <c:pt idx="65">
                  <c:v>0.77399492773969347</c:v>
                </c:pt>
                <c:pt idx="66">
                  <c:v>0.38920717382692221</c:v>
                </c:pt>
                <c:pt idx="67">
                  <c:v>0.29270767060275377</c:v>
                </c:pt>
                <c:pt idx="68">
                  <c:v>0.48646875770353004</c:v>
                </c:pt>
                <c:pt idx="69">
                  <c:v>0.81727902255916174</c:v>
                </c:pt>
                <c:pt idx="70">
                  <c:v>0.34367354179039517</c:v>
                </c:pt>
                <c:pt idx="71">
                  <c:v>0.51622085770685799</c:v>
                </c:pt>
                <c:pt idx="72">
                  <c:v>0.4900323683662195</c:v>
                </c:pt>
                <c:pt idx="73">
                  <c:v>0.49050113377578047</c:v>
                </c:pt>
                <c:pt idx="74">
                  <c:v>0.670991144572473</c:v>
                </c:pt>
                <c:pt idx="75">
                  <c:v>0.68381524904639091</c:v>
                </c:pt>
                <c:pt idx="76">
                  <c:v>0.57504141714008306</c:v>
                </c:pt>
                <c:pt idx="77">
                  <c:v>0.55827002530200553</c:v>
                </c:pt>
                <c:pt idx="78">
                  <c:v>0.49833260959585046</c:v>
                </c:pt>
                <c:pt idx="79">
                  <c:v>0.43387025946040297</c:v>
                </c:pt>
                <c:pt idx="80">
                  <c:v>0.55291778743655218</c:v>
                </c:pt>
                <c:pt idx="81">
                  <c:v>0.83966114137243397</c:v>
                </c:pt>
                <c:pt idx="82">
                  <c:v>0.71065669296504697</c:v>
                </c:pt>
                <c:pt idx="83">
                  <c:v>0.45473264218734388</c:v>
                </c:pt>
                <c:pt idx="84">
                  <c:v>0.73614018565153649</c:v>
                </c:pt>
                <c:pt idx="85">
                  <c:v>0.67667737446511833</c:v>
                </c:pt>
                <c:pt idx="86">
                  <c:v>0.40482195692530792</c:v>
                </c:pt>
                <c:pt idx="87">
                  <c:v>0.81632325675078754</c:v>
                </c:pt>
                <c:pt idx="88">
                  <c:v>0.84165213949576045</c:v>
                </c:pt>
                <c:pt idx="89">
                  <c:v>0.39372201530077433</c:v>
                </c:pt>
                <c:pt idx="90">
                  <c:v>0.39271541705074259</c:v>
                </c:pt>
                <c:pt idx="91">
                  <c:v>0.54193776550352679</c:v>
                </c:pt>
                <c:pt idx="92">
                  <c:v>0.42590193340678006</c:v>
                </c:pt>
                <c:pt idx="93">
                  <c:v>0.49484155128831503</c:v>
                </c:pt>
                <c:pt idx="94">
                  <c:v>0.39208173268005797</c:v>
                </c:pt>
                <c:pt idx="95">
                  <c:v>0.49563520452566745</c:v>
                </c:pt>
                <c:pt idx="96">
                  <c:v>0.68318705826541848</c:v>
                </c:pt>
                <c:pt idx="97">
                  <c:v>0.77547883629918557</c:v>
                </c:pt>
                <c:pt idx="98">
                  <c:v>0.73600164963299264</c:v>
                </c:pt>
                <c:pt idx="99">
                  <c:v>0.58605326860558582</c:v>
                </c:pt>
                <c:pt idx="100">
                  <c:v>0.17066751099436797</c:v>
                </c:pt>
                <c:pt idx="101">
                  <c:v>0.50377923364780619</c:v>
                </c:pt>
                <c:pt idx="102">
                  <c:v>0.33385811940776039</c:v>
                </c:pt>
                <c:pt idx="103">
                  <c:v>0.26988263274636737</c:v>
                </c:pt>
              </c:numCache>
            </c:numRef>
          </c:xVal>
          <c:yVal>
            <c:numRef>
              <c:f>'High Correlation Charts'!$E$4:$E$107</c:f>
              <c:numCache>
                <c:formatCode>0.000</c:formatCode>
                <c:ptCount val="104"/>
                <c:pt idx="0">
                  <c:v>0.28767123287671231</c:v>
                </c:pt>
                <c:pt idx="1">
                  <c:v>0.28767123287671231</c:v>
                </c:pt>
                <c:pt idx="2">
                  <c:v>0.36986301369863017</c:v>
                </c:pt>
                <c:pt idx="3">
                  <c:v>0.46575342465753422</c:v>
                </c:pt>
                <c:pt idx="4">
                  <c:v>0.84931506849315075</c:v>
                </c:pt>
                <c:pt idx="5">
                  <c:v>0.83561643835616439</c:v>
                </c:pt>
                <c:pt idx="6">
                  <c:v>0.83561643835616439</c:v>
                </c:pt>
                <c:pt idx="7">
                  <c:v>0.27397260273972601</c:v>
                </c:pt>
                <c:pt idx="8">
                  <c:v>0.61643835616438347</c:v>
                </c:pt>
                <c:pt idx="9">
                  <c:v>0.31506849315068497</c:v>
                </c:pt>
                <c:pt idx="10">
                  <c:v>0.39726027397260277</c:v>
                </c:pt>
                <c:pt idx="11">
                  <c:v>0.34246575342465752</c:v>
                </c:pt>
                <c:pt idx="12">
                  <c:v>8.2191780821917804E-2</c:v>
                </c:pt>
                <c:pt idx="13">
                  <c:v>0.84931506849315075</c:v>
                </c:pt>
                <c:pt idx="14">
                  <c:v>0.71232876712328774</c:v>
                </c:pt>
                <c:pt idx="15">
                  <c:v>0.36986301369863017</c:v>
                </c:pt>
                <c:pt idx="16">
                  <c:v>0.32876712328767127</c:v>
                </c:pt>
                <c:pt idx="17">
                  <c:v>0.57534246575342463</c:v>
                </c:pt>
                <c:pt idx="18">
                  <c:v>0.43835616438356156</c:v>
                </c:pt>
                <c:pt idx="19">
                  <c:v>0.53424657534246578</c:v>
                </c:pt>
                <c:pt idx="20">
                  <c:v>1</c:v>
                </c:pt>
                <c:pt idx="21">
                  <c:v>0.32876712328767127</c:v>
                </c:pt>
                <c:pt idx="22">
                  <c:v>0.24657534246575347</c:v>
                </c:pt>
                <c:pt idx="23">
                  <c:v>0.28767123287671231</c:v>
                </c:pt>
                <c:pt idx="24">
                  <c:v>0.82191780821917804</c:v>
                </c:pt>
                <c:pt idx="25">
                  <c:v>0.31506849315068497</c:v>
                </c:pt>
                <c:pt idx="26">
                  <c:v>0.95890410958904104</c:v>
                </c:pt>
                <c:pt idx="27">
                  <c:v>0.73972602739726023</c:v>
                </c:pt>
                <c:pt idx="28">
                  <c:v>0.56164383561643838</c:v>
                </c:pt>
                <c:pt idx="29">
                  <c:v>0.8904109589041096</c:v>
                </c:pt>
                <c:pt idx="30">
                  <c:v>0.38356164383561647</c:v>
                </c:pt>
                <c:pt idx="31">
                  <c:v>0.47945205479452052</c:v>
                </c:pt>
                <c:pt idx="32">
                  <c:v>0.13698630136986303</c:v>
                </c:pt>
                <c:pt idx="33">
                  <c:v>0.12328767123287671</c:v>
                </c:pt>
                <c:pt idx="34">
                  <c:v>0.39726027397260277</c:v>
                </c:pt>
                <c:pt idx="35">
                  <c:v>0.82191780821917804</c:v>
                </c:pt>
                <c:pt idx="36">
                  <c:v>0.34246575342465752</c:v>
                </c:pt>
                <c:pt idx="37">
                  <c:v>0.30136986301369861</c:v>
                </c:pt>
                <c:pt idx="38">
                  <c:v>0.13698630136986303</c:v>
                </c:pt>
                <c:pt idx="39">
                  <c:v>0.78082191780821908</c:v>
                </c:pt>
                <c:pt idx="40">
                  <c:v>0.61643835616438347</c:v>
                </c:pt>
                <c:pt idx="41">
                  <c:v>0.52054794520547942</c:v>
                </c:pt>
                <c:pt idx="42">
                  <c:v>0.39726027397260277</c:v>
                </c:pt>
                <c:pt idx="43">
                  <c:v>0.80821917808219179</c:v>
                </c:pt>
                <c:pt idx="44">
                  <c:v>0.46575342465753422</c:v>
                </c:pt>
                <c:pt idx="45">
                  <c:v>0.31506849315068497</c:v>
                </c:pt>
                <c:pt idx="46">
                  <c:v>0.21917808219178084</c:v>
                </c:pt>
                <c:pt idx="47">
                  <c:v>0.21917808219178084</c:v>
                </c:pt>
                <c:pt idx="48">
                  <c:v>0.57534246575342463</c:v>
                </c:pt>
                <c:pt idx="49">
                  <c:v>0.13698630136986303</c:v>
                </c:pt>
                <c:pt idx="50">
                  <c:v>0.61643835616438347</c:v>
                </c:pt>
                <c:pt idx="51">
                  <c:v>0.13698630136986303</c:v>
                </c:pt>
                <c:pt idx="52">
                  <c:v>0.20547945205479451</c:v>
                </c:pt>
                <c:pt idx="53">
                  <c:v>0.49315068493150682</c:v>
                </c:pt>
                <c:pt idx="54">
                  <c:v>0.20547945205479451</c:v>
                </c:pt>
                <c:pt idx="55">
                  <c:v>0.52054794520547942</c:v>
                </c:pt>
                <c:pt idx="56">
                  <c:v>0.21917808219178084</c:v>
                </c:pt>
                <c:pt idx="57">
                  <c:v>0.26027397260273977</c:v>
                </c:pt>
                <c:pt idx="58">
                  <c:v>0.27397260273972601</c:v>
                </c:pt>
                <c:pt idx="59">
                  <c:v>0.41095890410958913</c:v>
                </c:pt>
                <c:pt idx="60">
                  <c:v>0.34246575342465752</c:v>
                </c:pt>
                <c:pt idx="61">
                  <c:v>0.13698630136986303</c:v>
                </c:pt>
                <c:pt idx="62">
                  <c:v>0.49315068493150682</c:v>
                </c:pt>
                <c:pt idx="63">
                  <c:v>0.24657534246575347</c:v>
                </c:pt>
                <c:pt idx="64">
                  <c:v>0.91780821917808209</c:v>
                </c:pt>
                <c:pt idx="65">
                  <c:v>1</c:v>
                </c:pt>
                <c:pt idx="66">
                  <c:v>9.5890410958904118E-2</c:v>
                </c:pt>
                <c:pt idx="67">
                  <c:v>0.13698630136986303</c:v>
                </c:pt>
                <c:pt idx="68">
                  <c:v>0.27397260273972601</c:v>
                </c:pt>
                <c:pt idx="69">
                  <c:v>0.9452054794520548</c:v>
                </c:pt>
                <c:pt idx="70">
                  <c:v>0.21917808219178084</c:v>
                </c:pt>
                <c:pt idx="71">
                  <c:v>0.27397260273972601</c:v>
                </c:pt>
                <c:pt idx="72">
                  <c:v>0.31506849315068497</c:v>
                </c:pt>
                <c:pt idx="73">
                  <c:v>0.26027397260273977</c:v>
                </c:pt>
                <c:pt idx="74">
                  <c:v>0.56164383561643838</c:v>
                </c:pt>
                <c:pt idx="75">
                  <c:v>0.63013698630136983</c:v>
                </c:pt>
                <c:pt idx="76">
                  <c:v>0.39726027397260277</c:v>
                </c:pt>
                <c:pt idx="77">
                  <c:v>0.20547945205479451</c:v>
                </c:pt>
                <c:pt idx="78">
                  <c:v>0.53424657534246578</c:v>
                </c:pt>
                <c:pt idx="79">
                  <c:v>0.41095890410958913</c:v>
                </c:pt>
                <c:pt idx="80">
                  <c:v>0.31506849315068497</c:v>
                </c:pt>
                <c:pt idx="81">
                  <c:v>0.95890410958904104</c:v>
                </c:pt>
                <c:pt idx="82">
                  <c:v>0.61643835616438347</c:v>
                </c:pt>
                <c:pt idx="83">
                  <c:v>0.39726027397260277</c:v>
                </c:pt>
                <c:pt idx="84">
                  <c:v>0.63013698630136983</c:v>
                </c:pt>
                <c:pt idx="85">
                  <c:v>0.64383561643835618</c:v>
                </c:pt>
                <c:pt idx="86">
                  <c:v>0.31506849315068497</c:v>
                </c:pt>
                <c:pt idx="87">
                  <c:v>0.95890410958904104</c:v>
                </c:pt>
                <c:pt idx="88">
                  <c:v>0.95890410958904104</c:v>
                </c:pt>
                <c:pt idx="89">
                  <c:v>0.13698630136986303</c:v>
                </c:pt>
                <c:pt idx="90">
                  <c:v>0.31506849315068497</c:v>
                </c:pt>
                <c:pt idx="91">
                  <c:v>0.28767123287671231</c:v>
                </c:pt>
                <c:pt idx="92">
                  <c:v>0.39726027397260277</c:v>
                </c:pt>
                <c:pt idx="93">
                  <c:v>0.34246575342465752</c:v>
                </c:pt>
                <c:pt idx="94">
                  <c:v>0.16438356164383566</c:v>
                </c:pt>
                <c:pt idx="95">
                  <c:v>0.24657534246575347</c:v>
                </c:pt>
                <c:pt idx="96">
                  <c:v>0.76712328767123283</c:v>
                </c:pt>
                <c:pt idx="97">
                  <c:v>0.84931506849315075</c:v>
                </c:pt>
                <c:pt idx="98">
                  <c:v>0.71232876712328774</c:v>
                </c:pt>
                <c:pt idx="99">
                  <c:v>0.76712328767123283</c:v>
                </c:pt>
                <c:pt idx="100">
                  <c:v>0</c:v>
                </c:pt>
                <c:pt idx="101">
                  <c:v>0.28767123287671231</c:v>
                </c:pt>
                <c:pt idx="102">
                  <c:v>0.24657534246575347</c:v>
                </c:pt>
                <c:pt idx="103">
                  <c:v>0.12328767123287671</c:v>
                </c:pt>
              </c:numCache>
            </c:numRef>
          </c:yVal>
          <c:smooth val="0"/>
          <c:extLst xmlns:c16r2="http://schemas.microsoft.com/office/drawing/2015/06/chart">
            <c:ext xmlns:c16="http://schemas.microsoft.com/office/drawing/2014/chart" uri="{C3380CC4-5D6E-409C-BE32-E72D297353CC}">
              <c16:uniqueId val="{00000000-4740-4B18-8B80-09968CB4925A}"/>
            </c:ext>
            <c:ext xmlns:c15="http://schemas.microsoft.com/office/drawing/2012/chart" uri="{02D57815-91ED-43cb-92C2-25804820EDAC}">
              <c15:datalabelsRange>
                <c15:f>'High Correlation Charts'!$C$4:$C$107</c15:f>
                <c15:dlblRangeCache>
                  <c:ptCount val="104"/>
                  <c:pt idx="0">
                    <c:v>Albania</c:v>
                  </c:pt>
                  <c:pt idx="5">
                    <c:v>Austria</c:v>
                  </c:pt>
                  <c:pt idx="8">
                    <c:v>Botswana</c:v>
                  </c:pt>
                  <c:pt idx="9">
                    <c:v>Brazil</c:v>
                  </c:pt>
                  <c:pt idx="10">
                    <c:v>Bulgaria</c:v>
                  </c:pt>
                  <c:pt idx="14">
                    <c:v>Chile</c:v>
                  </c:pt>
                  <c:pt idx="15">
                    <c:v>China</c:v>
                  </c:pt>
                  <c:pt idx="17">
                    <c:v>Costa Rica</c:v>
                  </c:pt>
                  <c:pt idx="20">
                    <c:v>Denmark</c:v>
                  </c:pt>
                  <c:pt idx="24">
                    <c:v>Estonia</c:v>
                  </c:pt>
                  <c:pt idx="26">
                    <c:v>Finland</c:v>
                  </c:pt>
                  <c:pt idx="29">
                    <c:v>Germany</c:v>
                  </c:pt>
                  <c:pt idx="35">
                    <c:v>Iceland</c:v>
                  </c:pt>
                  <c:pt idx="36">
                    <c:v>India</c:v>
                  </c:pt>
                  <c:pt idx="37">
                    <c:v>Indonesia</c:v>
                  </c:pt>
                  <c:pt idx="40">
                    <c:v>Israel</c:v>
                  </c:pt>
                  <c:pt idx="41">
                    <c:v>Italy</c:v>
                  </c:pt>
                  <c:pt idx="43">
                    <c:v>Japan</c:v>
                  </c:pt>
                  <c:pt idx="45">
                    <c:v>Kazakhstan</c:v>
                  </c:pt>
                  <c:pt idx="46">
                    <c:v>Kenya</c:v>
                  </c:pt>
                  <c:pt idx="50">
                    <c:v>Lithuania</c:v>
                  </c:pt>
                  <c:pt idx="52">
                    <c:v>Malawi</c:v>
                  </c:pt>
                  <c:pt idx="55">
                    <c:v>Mauritius</c:v>
                  </c:pt>
                  <c:pt idx="59">
                    <c:v>Montenegro</c:v>
                  </c:pt>
                  <c:pt idx="60">
                    <c:v>Morocco</c:v>
                  </c:pt>
                  <c:pt idx="64">
                    <c:v>Netherlands</c:v>
                  </c:pt>
                  <c:pt idx="65">
                    <c:v>New Zealand</c:v>
                  </c:pt>
                  <c:pt idx="73">
                    <c:v>Philippines</c:v>
                  </c:pt>
                  <c:pt idx="76">
                    <c:v>Romania</c:v>
                  </c:pt>
                  <c:pt idx="77">
                    <c:v>Russian Federation</c:v>
                  </c:pt>
                  <c:pt idx="78">
                    <c:v>Rwanda</c:v>
                  </c:pt>
                  <c:pt idx="80">
                    <c:v>Serbia</c:v>
                  </c:pt>
                  <c:pt idx="81">
                    <c:v>Singapore</c:v>
                  </c:pt>
                  <c:pt idx="82">
                    <c:v>Slovenia</c:v>
                  </c:pt>
                  <c:pt idx="83">
                    <c:v>South Africa</c:v>
                  </c:pt>
                  <c:pt idx="88">
                    <c:v>Switzerland</c:v>
                  </c:pt>
                  <c:pt idx="91">
                    <c:v>Thailand</c:v>
                  </c:pt>
                  <c:pt idx="96">
                    <c:v>United Arab Emirates</c:v>
                  </c:pt>
                  <c:pt idx="97">
                    <c:v>United Kingdom</c:v>
                  </c:pt>
                  <c:pt idx="98">
                    <c:v>United States</c:v>
                  </c:pt>
                  <c:pt idx="99">
                    <c:v>Uruguay</c:v>
                  </c:pt>
                  <c:pt idx="101">
                    <c:v>Vietnam</c:v>
                  </c:pt>
                </c15:dlblRangeCache>
              </c15:datalabelsRange>
            </c:ext>
          </c:extLst>
        </c:ser>
        <c:dLbls>
          <c:dLblPos val="t"/>
          <c:showLegendKey val="0"/>
          <c:showVal val="1"/>
          <c:showCatName val="0"/>
          <c:showSerName val="0"/>
          <c:showPercent val="0"/>
          <c:showBubbleSize val="0"/>
        </c:dLbls>
        <c:axId val="230499032"/>
        <c:axId val="230495112"/>
      </c:scatterChart>
      <c:valAx>
        <c:axId val="230499032"/>
        <c:scaling>
          <c:orientation val="minMax"/>
          <c:min val="0.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CGGI (excluding anti-corruption indicator)</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95112"/>
        <c:crosses val="autoZero"/>
        <c:crossBetween val="midCat"/>
      </c:valAx>
      <c:valAx>
        <c:axId val="230495112"/>
        <c:scaling>
          <c:orientation val="minMax"/>
          <c:max val="1"/>
          <c:min val="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dirty="0"/>
                  <a:t>Anti-Corruption Indicator</a:t>
                </a:r>
              </a:p>
            </c:rich>
          </c:tx>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99032"/>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rgbClr val="AB8743"/>
      </a:solidFill>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5026532198543008E-2"/>
          <c:y val="9.9184626060259004E-2"/>
          <c:w val="0.90164722211797566"/>
          <c:h val="0.78342669301413737"/>
        </c:manualLayout>
      </c:layout>
      <c:scatterChart>
        <c:scatterStyle val="lineMarker"/>
        <c:varyColors val="0"/>
        <c:ser>
          <c:idx val="0"/>
          <c:order val="0"/>
          <c:tx>
            <c:v>Correlation between Anti-Corruption and Helping People Rise Pillar</c:v>
          </c:tx>
          <c:spPr>
            <a:ln w="25400" cap="rnd">
              <a:noFill/>
              <a:round/>
            </a:ln>
            <a:effectLst/>
          </c:spPr>
          <c:marker>
            <c:symbol val="circle"/>
            <c:size val="3"/>
            <c:spPr>
              <a:solidFill>
                <a:srgbClr val="002060"/>
              </a:solidFill>
              <a:ln w="9525">
                <a:noFill/>
              </a:ln>
              <a:effectLst/>
            </c:spPr>
          </c:marker>
          <c:dLbls>
            <c:dLbl>
              <c:idx val="0"/>
              <c:layout>
                <c:manualLayout>
                  <c:x val="-7.1660321140749855E-2"/>
                  <c:y val="-6.6878292531427685E-2"/>
                </c:manualLayout>
              </c:layout>
              <c:tx>
                <c:rich>
                  <a:bodyPr/>
                  <a:lstStyle/>
                  <a:p>
                    <a:fld id="{8573C96B-AA2A-4DC7-85CC-2CDDD5A27A6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4B68-4B4D-81B7-F82D6E3512C3}"/>
                </c:ext>
                <c:ext xmlns:c15="http://schemas.microsoft.com/office/drawing/2012/chart" uri="{CE6537A1-D6FC-4f65-9D91-7224C49458BB}">
                  <c15:layout/>
                  <c15:dlblFieldTable/>
                  <c15:showDataLabelsRange val="1"/>
                </c:ext>
              </c:extLst>
            </c:dLbl>
            <c:dLbl>
              <c:idx val="1"/>
              <c:layout>
                <c:manualLayout>
                  <c:x val="0"/>
                  <c:y val="2.9179318686282769E-2"/>
                </c:manualLayout>
              </c:layout>
              <c:tx>
                <c:rich>
                  <a:bodyPr/>
                  <a:lstStyle/>
                  <a:p>
                    <a:fld id="{DF873281-A585-4A8A-BB1D-EFFE98C83DB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4B68-4B4D-81B7-F82D6E3512C3}"/>
                </c:ext>
                <c:ext xmlns:c15="http://schemas.microsoft.com/office/drawing/2012/chart" uri="{CE6537A1-D6FC-4f65-9D91-7224C49458BB}">
                  <c15:layout/>
                  <c15:dlblFieldTable/>
                  <c15:showDataLabelsRange val="1"/>
                </c:ext>
              </c:extLst>
            </c:dLbl>
            <c:dLbl>
              <c:idx val="2"/>
              <c:layout/>
              <c:tx>
                <c:rich>
                  <a:bodyPr/>
                  <a:lstStyle/>
                  <a:p>
                    <a:fld id="{8F9CE800-7AA4-4AE8-BAA2-E8CB9D56312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526C0243-969E-4AA5-90C8-6243C50EA93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manualLayout>
                  <c:x val="-4.9846251839304551E-2"/>
                  <c:y val="3.5998254638755639E-2"/>
                </c:manualLayout>
              </c:layout>
              <c:tx>
                <c:rich>
                  <a:bodyPr/>
                  <a:lstStyle/>
                  <a:p>
                    <a:fld id="{5874AF94-7546-49D7-A458-F9F63BC8D59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4B68-4B4D-81B7-F82D6E3512C3}"/>
                </c:ext>
                <c:ext xmlns:c15="http://schemas.microsoft.com/office/drawing/2012/chart" uri="{CE6537A1-D6FC-4f65-9D91-7224C49458BB}">
                  <c15:layout/>
                  <c15:dlblFieldTable/>
                  <c15:showDataLabelsRange val="1"/>
                </c:ext>
              </c:extLst>
            </c:dLbl>
            <c:dLbl>
              <c:idx val="5"/>
              <c:layout/>
              <c:tx>
                <c:rich>
                  <a:bodyPr/>
                  <a:lstStyle/>
                  <a:p>
                    <a:fld id="{39735A0F-044B-4908-8D23-C1B10B5DB65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25EA86DE-68AD-4A01-A888-CE2C38BD80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manualLayout>
                  <c:x val="-6.7590462546967989E-2"/>
                  <c:y val="-8.2196635204108109E-2"/>
                </c:manualLayout>
              </c:layout>
              <c:tx>
                <c:rich>
                  <a:bodyPr/>
                  <a:lstStyle/>
                  <a:p>
                    <a:fld id="{CC4B3576-D9FC-4A63-B5E8-4B691766181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4B68-4B4D-81B7-F82D6E3512C3}"/>
                </c:ext>
                <c:ext xmlns:c15="http://schemas.microsoft.com/office/drawing/2012/chart" uri="{CE6537A1-D6FC-4f65-9D91-7224C49458BB}">
                  <c15:layout/>
                  <c15:dlblFieldTable/>
                  <c15:showDataLabelsRange val="1"/>
                </c:ext>
              </c:extLst>
            </c:dLbl>
            <c:dLbl>
              <c:idx val="8"/>
              <c:layout>
                <c:manualLayout>
                  <c:x val="-7.3055504008053039E-3"/>
                  <c:y val="-7.7650677902459511E-2"/>
                </c:manualLayout>
              </c:layout>
              <c:tx>
                <c:rich>
                  <a:bodyPr/>
                  <a:lstStyle/>
                  <a:p>
                    <a:fld id="{1FA10C77-749E-45A3-B95C-63A900CBB34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4B68-4B4D-81B7-F82D6E3512C3}"/>
                </c:ext>
                <c:ext xmlns:c15="http://schemas.microsoft.com/office/drawing/2012/chart" uri="{CE6537A1-D6FC-4f65-9D91-7224C49458BB}">
                  <c15:layout/>
                  <c15:dlblFieldTable/>
                  <c15:showDataLabelsRange val="1"/>
                </c:ext>
              </c:extLst>
            </c:dLbl>
            <c:dLbl>
              <c:idx val="9"/>
              <c:layout/>
              <c:tx>
                <c:rich>
                  <a:bodyPr/>
                  <a:lstStyle/>
                  <a:p>
                    <a:fld id="{A1BBCB18-8CB6-40A6-AE60-54F1FA88EE9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0"/>
                  <c:y val="2.7058425025361318E-2"/>
                </c:manualLayout>
              </c:layout>
              <c:tx>
                <c:rich>
                  <a:bodyPr/>
                  <a:lstStyle/>
                  <a:p>
                    <a:fld id="{DA418F01-B76A-4167-A2C2-B5EAE73BF5F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4B68-4B4D-81B7-F82D6E3512C3}"/>
                </c:ext>
                <c:ext xmlns:c15="http://schemas.microsoft.com/office/drawing/2012/chart" uri="{CE6537A1-D6FC-4f65-9D91-7224C49458BB}">
                  <c15:layout/>
                  <c15:dlblFieldTable/>
                  <c15:showDataLabelsRange val="1"/>
                </c:ext>
              </c:extLst>
            </c:dLbl>
            <c:dLbl>
              <c:idx val="11"/>
              <c:layout>
                <c:manualLayout>
                  <c:x val="-2.9076381964934561E-4"/>
                  <c:y val="-4.5829048692863424E-2"/>
                </c:manualLayout>
              </c:layout>
              <c:tx>
                <c:rich>
                  <a:bodyPr/>
                  <a:lstStyle/>
                  <a:p>
                    <a:fld id="{0622115C-CF54-48A8-979B-934EAA59C56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4B68-4B4D-81B7-F82D6E3512C3}"/>
                </c:ext>
                <c:ext xmlns:c15="http://schemas.microsoft.com/office/drawing/2012/chart" uri="{CE6537A1-D6FC-4f65-9D91-7224C49458BB}">
                  <c15:layout/>
                  <c15:dlblFieldTable/>
                  <c15:showDataLabelsRange val="1"/>
                </c:ext>
              </c:extLst>
            </c:dLbl>
            <c:dLbl>
              <c:idx val="12"/>
              <c:layout/>
              <c:tx>
                <c:rich>
                  <a:bodyPr/>
                  <a:lstStyle/>
                  <a:p>
                    <a:fld id="{9C920F07-AF80-4C78-87AB-CDF9897D022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EE1F7680-874F-46B8-961B-BACC44FB2A1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manualLayout>
                  <c:x val="-7.361421065283949E-2"/>
                  <c:y val="-4.5828976790919254E-2"/>
                </c:manualLayout>
              </c:layout>
              <c:tx>
                <c:rich>
                  <a:bodyPr/>
                  <a:lstStyle/>
                  <a:p>
                    <a:fld id="{0835125E-029C-4188-B8C7-C9191D5A3C9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4B68-4B4D-81B7-F82D6E3512C3}"/>
                </c:ext>
                <c:ext xmlns:c15="http://schemas.microsoft.com/office/drawing/2012/chart" uri="{CE6537A1-D6FC-4f65-9D91-7224C49458BB}">
                  <c15:layout/>
                  <c15:dlblFieldTable/>
                  <c15:showDataLabelsRange val="1"/>
                </c:ext>
              </c:extLst>
            </c:dLbl>
            <c:dLbl>
              <c:idx val="15"/>
              <c:layout>
                <c:manualLayout>
                  <c:x val="-1.0884396235483625E-2"/>
                  <c:y val="-3.9010040838446364E-2"/>
                </c:manualLayout>
              </c:layout>
              <c:tx>
                <c:rich>
                  <a:bodyPr/>
                  <a:lstStyle/>
                  <a:p>
                    <a:fld id="{4BACA404-7A9F-43E9-8FB8-96439F6DA28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4B68-4B4D-81B7-F82D6E3512C3}"/>
                </c:ext>
                <c:ext xmlns:c15="http://schemas.microsoft.com/office/drawing/2012/chart" uri="{CE6537A1-D6FC-4f65-9D91-7224C49458BB}">
                  <c15:layout/>
                  <c15:dlblFieldTable/>
                  <c15:showDataLabelsRange val="1"/>
                </c:ext>
              </c:extLst>
            </c:dLbl>
            <c:dLbl>
              <c:idx val="16"/>
              <c:layout/>
              <c:tx>
                <c:rich>
                  <a:bodyPr/>
                  <a:lstStyle/>
                  <a:p>
                    <a:fld id="{15828EB3-0D4B-43DA-82ED-4F79C5F16E4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A57475B6-9FB7-4BE3-84E3-0E7E0C0338E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manualLayout>
                  <c:x val="-2.0953908113938942E-2"/>
                  <c:y val="3.1452297337107075E-2"/>
                </c:manualLayout>
              </c:layout>
              <c:tx>
                <c:rich>
                  <a:bodyPr/>
                  <a:lstStyle/>
                  <a:p>
                    <a:fld id="{5AC0CE40-96C6-428E-B1E0-6C3E357632B4}" type="CELLRANGE">
                      <a:rPr lang="en-US" dirty="0"/>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4B68-4B4D-81B7-F82D6E3512C3}"/>
                </c:ext>
                <c:ext xmlns:c15="http://schemas.microsoft.com/office/drawing/2012/chart" uri="{CE6537A1-D6FC-4f65-9D91-7224C49458BB}">
                  <c15:layout/>
                  <c15:dlblFieldTable/>
                  <c15:showDataLabelsRange val="1"/>
                </c:ext>
              </c:extLst>
            </c:dLbl>
            <c:dLbl>
              <c:idx val="19"/>
              <c:layout/>
              <c:tx>
                <c:rich>
                  <a:bodyPr/>
                  <a:lstStyle/>
                  <a:p>
                    <a:fld id="{7B27ABC9-DFF3-42E9-8BC8-E4765450FC7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2379849E-EC76-41A9-A67C-19B21E2BFE1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4.865416158367674E-2"/>
                  <c:y val="1.7814425432161253E-2"/>
                </c:manualLayout>
              </c:layout>
              <c:tx>
                <c:rich>
                  <a:bodyPr/>
                  <a:lstStyle/>
                  <a:p>
                    <a:fld id="{E653EEE4-FF3F-4FFB-BE72-53D7D5F2E22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4B68-4B4D-81B7-F82D6E3512C3}"/>
                </c:ext>
                <c:ext xmlns:c15="http://schemas.microsoft.com/office/drawing/2012/chart" uri="{CE6537A1-D6FC-4f65-9D91-7224C49458BB}">
                  <c15:layout/>
                  <c15:dlblFieldTable/>
                  <c15:showDataLabelsRange val="1"/>
                </c:ext>
              </c:extLst>
            </c:dLbl>
            <c:dLbl>
              <c:idx val="22"/>
              <c:layout/>
              <c:tx>
                <c:rich>
                  <a:bodyPr/>
                  <a:lstStyle/>
                  <a:p>
                    <a:fld id="{9908413B-A1E7-4682-8D56-E5EA9920F28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257852B9-0DBD-4891-A983-5B5820F61C9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7BCDA5B1-87B9-4DB4-B34D-9ECB9586183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manualLayout>
                  <c:x val="-2.3984264508305757E-2"/>
                  <c:y val="-0.11401833631564837"/>
                </c:manualLayout>
              </c:layout>
              <c:tx>
                <c:rich>
                  <a:bodyPr/>
                  <a:lstStyle/>
                  <a:p>
                    <a:fld id="{440E0F10-59D6-4FF7-BB18-A9248A61288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4B68-4B4D-81B7-F82D6E3512C3}"/>
                </c:ext>
                <c:ext xmlns:c15="http://schemas.microsoft.com/office/drawing/2012/chart" uri="{CE6537A1-D6FC-4f65-9D91-7224C49458BB}">
                  <c15:layout/>
                  <c15:dlblFieldTable/>
                  <c15:showDataLabelsRange val="1"/>
                </c:ext>
              </c:extLst>
            </c:dLbl>
            <c:dLbl>
              <c:idx val="26"/>
              <c:layout/>
              <c:tx>
                <c:rich>
                  <a:bodyPr/>
                  <a:lstStyle/>
                  <a:p>
                    <a:fld id="{1CAB275B-B17D-40AD-AFC0-7D4FC1D598B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8EEA2349-6422-4166-ACD3-F07F351AC49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721C2E93-CEE2-4DE6-8898-4A7F5DCC302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B257A2A0-777E-4940-B7ED-01B7E51E935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10B9293B-8879-4E8D-8A7B-AA61727A493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2.6260292172176167E-2"/>
                  <c:y val="-8.6742592505756735E-2"/>
                </c:manualLayout>
              </c:layout>
              <c:tx>
                <c:rich>
                  <a:bodyPr/>
                  <a:lstStyle/>
                  <a:p>
                    <a:fld id="{EC4E0E9D-A3E9-43D1-9B34-79A044E25B4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4B68-4B4D-81B7-F82D6E3512C3}"/>
                </c:ext>
                <c:ext xmlns:c15="http://schemas.microsoft.com/office/drawing/2012/chart" uri="{CE6537A1-D6FC-4f65-9D91-7224C49458BB}">
                  <c15:layout/>
                  <c15:dlblFieldTable/>
                  <c15:showDataLabelsRange val="1"/>
                </c:ext>
              </c:extLst>
            </c:dLbl>
            <c:dLbl>
              <c:idx val="32"/>
              <c:layout/>
              <c:tx>
                <c:rich>
                  <a:bodyPr/>
                  <a:lstStyle/>
                  <a:p>
                    <a:fld id="{5B6D2985-48B0-47A2-989D-F18A9435FCF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4.2222738384351151E-3"/>
                  <c:y val="-3.3453548721884892E-2"/>
                </c:manualLayout>
              </c:layout>
              <c:tx>
                <c:rich>
                  <a:bodyPr/>
                  <a:lstStyle/>
                  <a:p>
                    <a:fld id="{4082F1F4-1016-44C5-8BA3-3B6F630853C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4B68-4B4D-81B7-F82D6E3512C3}"/>
                </c:ext>
                <c:ext xmlns:c15="http://schemas.microsoft.com/office/drawing/2012/chart" uri="{CE6537A1-D6FC-4f65-9D91-7224C49458BB}">
                  <c15:layout/>
                  <c15:dlblFieldTable/>
                  <c15:showDataLabelsRange val="1"/>
                </c:ext>
              </c:extLst>
            </c:dLbl>
            <c:dLbl>
              <c:idx val="34"/>
              <c:layout>
                <c:manualLayout>
                  <c:x val="-2.0124124595226951E-2"/>
                  <c:y val="-6.3402211004429512E-2"/>
                </c:manualLayout>
              </c:layout>
              <c:tx>
                <c:rich>
                  <a:bodyPr/>
                  <a:lstStyle/>
                  <a:p>
                    <a:fld id="{874D789D-1BB4-4FFB-A118-243BA1A9F47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4B68-4B4D-81B7-F82D6E3512C3}"/>
                </c:ext>
                <c:ext xmlns:c15="http://schemas.microsoft.com/office/drawing/2012/chart" uri="{CE6537A1-D6FC-4f65-9D91-7224C49458BB}">
                  <c15:layout/>
                  <c15:dlblFieldTable/>
                  <c15:showDataLabelsRange val="1"/>
                </c:ext>
              </c:extLst>
            </c:dLbl>
            <c:dLbl>
              <c:idx val="35"/>
              <c:layout>
                <c:manualLayout>
                  <c:x val="-1.7351222135482049E-2"/>
                  <c:y val="-5.2647912743392207E-2"/>
                </c:manualLayout>
              </c:layout>
              <c:tx>
                <c:rich>
                  <a:bodyPr/>
                  <a:lstStyle/>
                  <a:p>
                    <a:fld id="{3A492DE8-F106-4D23-882D-1672EDA403A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3-4B68-4B4D-81B7-F82D6E3512C3}"/>
                </c:ext>
                <c:ext xmlns:c15="http://schemas.microsoft.com/office/drawing/2012/chart" uri="{CE6537A1-D6FC-4f65-9D91-7224C49458BB}">
                  <c15:layout/>
                  <c15:dlblFieldTable/>
                  <c15:showDataLabelsRange val="1"/>
                </c:ext>
              </c:extLst>
            </c:dLbl>
            <c:dLbl>
              <c:idx val="36"/>
              <c:layout/>
              <c:tx>
                <c:rich>
                  <a:bodyPr/>
                  <a:lstStyle/>
                  <a:p>
                    <a:fld id="{0890D8C5-FDE2-42D5-8D0D-9D854000106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7"/>
              <c:layout/>
              <c:tx>
                <c:rich>
                  <a:bodyPr/>
                  <a:lstStyle/>
                  <a:p>
                    <a:fld id="{B8CC3E70-326F-437A-B587-01C75503059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8"/>
              <c:layout/>
              <c:tx>
                <c:rich>
                  <a:bodyPr/>
                  <a:lstStyle/>
                  <a:p>
                    <a:fld id="{04A9D319-B80A-4828-B347-57410C64685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manualLayout>
                  <c:x val="-2.5594879671675806E-2"/>
                  <c:y val="-4.7206270028077209E-2"/>
                </c:manualLayout>
              </c:layout>
              <c:tx>
                <c:rich>
                  <a:bodyPr/>
                  <a:lstStyle/>
                  <a:p>
                    <a:fld id="{5A38C7AC-9195-4814-9570-EC1722B92B7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4B68-4B4D-81B7-F82D6E3512C3}"/>
                </c:ext>
                <c:ext xmlns:c15="http://schemas.microsoft.com/office/drawing/2012/chart" uri="{CE6537A1-D6FC-4f65-9D91-7224C49458BB}">
                  <c15:layout/>
                  <c15:dlblFieldTable/>
                  <c15:showDataLabelsRange val="1"/>
                </c:ext>
              </c:extLst>
            </c:dLbl>
            <c:dLbl>
              <c:idx val="40"/>
              <c:layout>
                <c:manualLayout>
                  <c:x val="-3.8803613534489835E-2"/>
                  <c:y val="3.8271233289579903E-2"/>
                </c:manualLayout>
              </c:layout>
              <c:tx>
                <c:rich>
                  <a:bodyPr/>
                  <a:lstStyle/>
                  <a:p>
                    <a:fld id="{C419EFA1-37C9-4536-8413-069CE0D922B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8-4B68-4B4D-81B7-F82D6E3512C3}"/>
                </c:ext>
                <c:ext xmlns:c15="http://schemas.microsoft.com/office/drawing/2012/chart" uri="{CE6537A1-D6FC-4f65-9D91-7224C49458BB}">
                  <c15:layout/>
                  <c15:dlblFieldTable/>
                  <c15:showDataLabelsRange val="1"/>
                </c:ext>
              </c:extLst>
            </c:dLbl>
            <c:dLbl>
              <c:idx val="41"/>
              <c:layout/>
              <c:tx>
                <c:rich>
                  <a:bodyPr/>
                  <a:lstStyle/>
                  <a:p>
                    <a:fld id="{F9E3C561-3205-4FBE-8DB1-0B8A5AD72A0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3.6005345508475416E-2"/>
                  <c:y val="-2.537216893350052E-2"/>
                </c:manualLayout>
              </c:layout>
              <c:tx>
                <c:rich>
                  <a:bodyPr/>
                  <a:lstStyle/>
                  <a:p>
                    <a:fld id="{812B8FFE-D94C-4129-9963-76FFA7E3499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4B68-4B4D-81B7-F82D6E3512C3}"/>
                </c:ext>
                <c:ext xmlns:c15="http://schemas.microsoft.com/office/drawing/2012/chart" uri="{CE6537A1-D6FC-4f65-9D91-7224C49458BB}">
                  <c15:layout/>
                  <c15:dlblFieldTable/>
                  <c15:showDataLabelsRange val="1"/>
                </c:ext>
              </c:extLst>
            </c:dLbl>
            <c:dLbl>
              <c:idx val="43"/>
              <c:layout>
                <c:manualLayout>
                  <c:x val="-1.294420127128605E-2"/>
                  <c:y val="2.9179318686282769E-2"/>
                </c:manualLayout>
              </c:layout>
              <c:tx>
                <c:rich>
                  <a:bodyPr/>
                  <a:lstStyle/>
                  <a:p>
                    <a:fld id="{ADE222BD-1064-4B5A-916A-3EDD165BD85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B-4B68-4B4D-81B7-F82D6E3512C3}"/>
                </c:ext>
                <c:ext xmlns:c15="http://schemas.microsoft.com/office/drawing/2012/chart" uri="{CE6537A1-D6FC-4f65-9D91-7224C49458BB}">
                  <c15:layout/>
                  <c15:dlblFieldTable/>
                  <c15:showDataLabelsRange val="1"/>
                </c:ext>
              </c:extLst>
            </c:dLbl>
            <c:dLbl>
              <c:idx val="44"/>
              <c:layout>
                <c:manualLayout>
                  <c:x val="-3.5620331339787835E-2"/>
                  <c:y val="2.2360382733809817E-2"/>
                </c:manualLayout>
              </c:layout>
              <c:tx>
                <c:rich>
                  <a:bodyPr/>
                  <a:lstStyle/>
                  <a:p>
                    <a:fld id="{FAF91ACD-C224-4889-B14C-36509954767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4B68-4B4D-81B7-F82D6E3512C3}"/>
                </c:ext>
                <c:ext xmlns:c15="http://schemas.microsoft.com/office/drawing/2012/chart" uri="{CE6537A1-D6FC-4f65-9D91-7224C49458BB}">
                  <c15:layout/>
                  <c15:dlblFieldTable/>
                  <c15:showDataLabelsRange val="1"/>
                </c:ext>
              </c:extLst>
            </c:dLbl>
            <c:dLbl>
              <c:idx val="45"/>
              <c:layout>
                <c:manualLayout>
                  <c:x val="1.7749693110065542E-3"/>
                  <c:y val="-9.4613183777303937E-3"/>
                </c:manualLayout>
              </c:layout>
              <c:tx>
                <c:rich>
                  <a:bodyPr/>
                  <a:lstStyle/>
                  <a:p>
                    <a:fld id="{051BCA1D-EFA0-4396-BE9B-6EB4E199394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4B68-4B4D-81B7-F82D6E3512C3}"/>
                </c:ext>
                <c:ext xmlns:c15="http://schemas.microsoft.com/office/drawing/2012/chart" uri="{CE6537A1-D6FC-4f65-9D91-7224C49458BB}">
                  <c15:layout/>
                  <c15:dlblFieldTable/>
                  <c15:showDataLabelsRange val="1"/>
                </c:ext>
              </c:extLst>
            </c:dLbl>
            <c:dLbl>
              <c:idx val="46"/>
              <c:layout>
                <c:manualLayout>
                  <c:x val="-3.1910427613276456E-2"/>
                  <c:y val="-1.9700827415692571E-2"/>
                </c:manualLayout>
              </c:layout>
              <c:tx>
                <c:rich>
                  <a:bodyPr/>
                  <a:lstStyle/>
                  <a:p>
                    <a:fld id="{A0E1A833-F751-4CC3-8654-C13E9B93178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4B68-4B4D-81B7-F82D6E3512C3}"/>
                </c:ext>
                <c:ext xmlns:c15="http://schemas.microsoft.com/office/drawing/2012/chart" uri="{CE6537A1-D6FC-4f65-9D91-7224C49458BB}">
                  <c15:layout/>
                  <c15:dlblFieldTable/>
                  <c15:showDataLabelsRange val="1"/>
                </c:ext>
              </c:extLst>
            </c:dLbl>
            <c:dLbl>
              <c:idx val="47"/>
              <c:layout>
                <c:manualLayout>
                  <c:x val="-8.0883056482224353E-2"/>
                  <c:y val="-7.9923669148076304E-2"/>
                </c:manualLayout>
              </c:layout>
              <c:tx>
                <c:rich>
                  <a:bodyPr/>
                  <a:lstStyle/>
                  <a:p>
                    <a:fld id="{755F9369-E365-4B51-811B-092B7D77ACA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4B68-4B4D-81B7-F82D6E3512C3}"/>
                </c:ext>
                <c:ext xmlns:c15="http://schemas.microsoft.com/office/drawing/2012/chart" uri="{CE6537A1-D6FC-4f65-9D91-7224C49458BB}">
                  <c15:layout/>
                  <c15:dlblFieldTable/>
                  <c15:showDataLabelsRange val="1"/>
                </c:ext>
              </c:extLst>
            </c:dLbl>
            <c:dLbl>
              <c:idx val="48"/>
              <c:layout/>
              <c:tx>
                <c:rich>
                  <a:bodyPr/>
                  <a:lstStyle/>
                  <a:p>
                    <a:fld id="{66B80898-6DFC-4EFA-9261-91D2D118FB2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9"/>
              <c:layout>
                <c:manualLayout>
                  <c:x val="-4.3171094648028936E-2"/>
                  <c:y val="-5.2647912743392165E-2"/>
                </c:manualLayout>
              </c:layout>
              <c:tx>
                <c:rich>
                  <a:bodyPr/>
                  <a:lstStyle/>
                  <a:p>
                    <a:fld id="{8D519698-CEDA-4BA6-BC9E-3E9AD29B22C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4B68-4B4D-81B7-F82D6E3512C3}"/>
                </c:ext>
                <c:ext xmlns:c15="http://schemas.microsoft.com/office/drawing/2012/chart" uri="{CE6537A1-D6FC-4f65-9D91-7224C49458BB}">
                  <c15:layout/>
                  <c15:dlblFieldTable/>
                  <c15:showDataLabelsRange val="1"/>
                </c:ext>
              </c:extLst>
            </c:dLbl>
            <c:dLbl>
              <c:idx val="50"/>
              <c:layout/>
              <c:tx>
                <c:rich>
                  <a:bodyPr/>
                  <a:lstStyle/>
                  <a:p>
                    <a:fld id="{4586013C-33BE-46AE-93CF-79EC038BE39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1"/>
              <c:layout/>
              <c:tx>
                <c:rich>
                  <a:bodyPr/>
                  <a:lstStyle/>
                  <a:p>
                    <a:fld id="{E6C98AAD-8787-4EC5-BDB3-F4FB89DE565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2"/>
              <c:layout>
                <c:manualLayout>
                  <c:x val="-2.1613208536133768E-2"/>
                  <c:y val="2.2360382733809858E-2"/>
                </c:manualLayout>
              </c:layout>
              <c:tx>
                <c:rich>
                  <a:bodyPr/>
                  <a:lstStyle/>
                  <a:p>
                    <a:fld id="{BFCDCC4A-18DB-459B-B275-7D8995FB522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4-4B68-4B4D-81B7-F82D6E3512C3}"/>
                </c:ext>
                <c:ext xmlns:c15="http://schemas.microsoft.com/office/drawing/2012/chart" uri="{CE6537A1-D6FC-4f65-9D91-7224C49458BB}">
                  <c15:layout/>
                  <c15:dlblFieldTable/>
                  <c15:showDataLabelsRange val="1"/>
                </c:ext>
              </c:extLst>
            </c:dLbl>
            <c:dLbl>
              <c:idx val="53"/>
              <c:layout>
                <c:manualLayout>
                  <c:x val="-5.1146820965333628E-2"/>
                  <c:y val="-3.3453548721884892E-2"/>
                </c:manualLayout>
              </c:layout>
              <c:tx>
                <c:rich>
                  <a:bodyPr/>
                  <a:lstStyle/>
                  <a:p>
                    <a:fld id="{5EDAFE0C-99D5-4C35-8CAB-DFDAFD2A45D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5-4B68-4B4D-81B7-F82D6E3512C3}"/>
                </c:ext>
                <c:ext xmlns:c15="http://schemas.microsoft.com/office/drawing/2012/chart" uri="{CE6537A1-D6FC-4f65-9D91-7224C49458BB}">
                  <c15:layout/>
                  <c15:dlblFieldTable/>
                  <c15:showDataLabelsRange val="1"/>
                </c:ext>
              </c:extLst>
            </c:dLbl>
            <c:dLbl>
              <c:idx val="54"/>
              <c:layout/>
              <c:tx>
                <c:rich>
                  <a:bodyPr/>
                  <a:lstStyle/>
                  <a:p>
                    <a:fld id="{0C8F10E5-FD19-435F-AAD4-B26499C0B66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5"/>
              <c:layout>
                <c:manualLayout>
                  <c:x val="-5.5932365179973222E-2"/>
                  <c:y val="1.4223562504927156E-2"/>
                </c:manualLayout>
              </c:layout>
              <c:tx>
                <c:rich>
                  <a:bodyPr/>
                  <a:lstStyle/>
                  <a:p>
                    <a:fld id="{21FF060E-740B-4180-BD47-0EDF8D3E83F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4B68-4B4D-81B7-F82D6E3512C3}"/>
                </c:ext>
                <c:ext xmlns:c15="http://schemas.microsoft.com/office/drawing/2012/chart" uri="{CE6537A1-D6FC-4f65-9D91-7224C49458BB}">
                  <c15:layout/>
                  <c15:dlblFieldTable/>
                  <c15:showDataLabelsRange val="1"/>
                </c:ext>
              </c:extLst>
            </c:dLbl>
            <c:dLbl>
              <c:idx val="56"/>
              <c:layout/>
              <c:tx>
                <c:rich>
                  <a:bodyPr/>
                  <a:lstStyle/>
                  <a:p>
                    <a:fld id="{84B743EC-753D-4AD3-B210-3D1EE308986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7"/>
              <c:layout/>
              <c:tx>
                <c:rich>
                  <a:bodyPr/>
                  <a:lstStyle/>
                  <a:p>
                    <a:fld id="{159C613D-EC34-4BFF-9341-F94504B2417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tx>
                <c:rich>
                  <a:bodyPr/>
                  <a:lstStyle/>
                  <a:p>
                    <a:fld id="{A686F273-CFD8-4A59-B12D-C2BFB9C5B41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2.0531929262389236E-2"/>
                  <c:y val="2.4633361384634164E-2"/>
                </c:manualLayout>
              </c:layout>
              <c:tx>
                <c:rich>
                  <a:bodyPr/>
                  <a:lstStyle/>
                  <a:p>
                    <a:fld id="{90DE05E3-2A43-4567-80A3-D8033F1D9D3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4B68-4B4D-81B7-F82D6E3512C3}"/>
                </c:ext>
                <c:ext xmlns:c15="http://schemas.microsoft.com/office/drawing/2012/chart" uri="{CE6537A1-D6FC-4f65-9D91-7224C49458BB}">
                  <c15:layout/>
                  <c15:dlblFieldTable/>
                  <c15:showDataLabelsRange val="1"/>
                </c:ext>
              </c:extLst>
            </c:dLbl>
            <c:dLbl>
              <c:idx val="60"/>
              <c:layout/>
              <c:tx>
                <c:rich>
                  <a:bodyPr/>
                  <a:lstStyle/>
                  <a:p>
                    <a:fld id="{9EB2A837-240C-4636-97AD-2A1D1D0A9AB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6954AADA-D0F5-433C-A216-A4B61565A90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1E9E075F-8D73-4DFF-83F2-C17A0FB94DC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6FD28090-C6A1-4E10-8C6E-D1B67060E5F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50DF3B68-B033-4C0D-8CB0-C0E9F5F7483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EA907431-D628-4E71-B324-1C6D2D4DA39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061F64FD-988B-40E2-9FF3-BB70E26A324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42ADDE37-72A8-43DE-B7D1-AF6B4C6866D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9FA9CF90-8F07-415B-AE7D-290C2F33343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70128537-AB4B-4647-9BAB-A888D7613AF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C603C03E-FB62-4EAE-AA0C-6D275DB48FD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86A3025F-AC5E-42E3-92E4-8EB04A90414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6BEC1717-9B11-4A0D-B174-B79FB41A555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53FF7CEC-409E-4FDA-8EDA-E5691641252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C844914E-4290-4EA5-9F0C-C2870E65719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BDE2599E-D27B-4F0D-9976-7A362935115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3E459A20-322E-43A0-8FEE-8E2E1E47606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E9C06F02-5EE3-47B1-AD5D-ABB0C952EB4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87622CF1-0500-435E-BED5-CB947ED569F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B3758F29-0B4E-4409-A680-D0AF45631C2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CD649DE2-483B-406B-A52D-527E12AF49D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09D07672-1672-4974-B3FC-5D0BE413D4F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291BB006-B41F-4DDF-BC7E-9DB12BA9E95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8BB467C6-A0F7-45E5-BF8C-AEF88D95442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9B179AE1-08F1-4F07-B5DA-B7E498EBEDC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6FF90971-284A-4872-AF87-07467841F3E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C162F0CB-D59B-4E69-B143-F241FD2FDB4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6A437F8D-3D6A-47C8-B894-3E4DB2489BE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A0339250-7084-4685-8A1A-792AFA2B32B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4461B39E-32A9-4A75-9290-E5BD2A01037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5AB03F7F-037E-4C78-AA4B-B9AB72A4A1A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7520092E-55E4-4B7E-B5D2-1001EE8A37A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2475BE89-8BBE-430B-9F7C-9C7BDE79100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0F999A26-61A9-4F63-B0E6-9CFBD002440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CEE6FD46-1906-4A14-B7FD-AF36AFE7EBC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3CC9B258-0080-45C8-B00D-19A428863FC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1F1A9752-9578-42A2-962C-C2017899FDE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D2D20772-A1D8-4CEC-AB78-03A4DEF4863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7BB52BB7-4617-4E12-8780-05DE38C6F36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5F3FB0CB-BEF5-4170-9A3C-FFFBF0268C3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B1D5F5A8-623A-49A1-86EC-625690ACA77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515E1CF4-C953-4A4F-BC15-2A93F5AC4BE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N$3:$N$104</c:f>
              <c:numCache>
                <c:formatCode>0.000</c:formatCode>
                <c:ptCount val="102"/>
                <c:pt idx="0">
                  <c:v>0.90924005749533165</c:v>
                </c:pt>
                <c:pt idx="1">
                  <c:v>0.88756486284405078</c:v>
                </c:pt>
                <c:pt idx="2">
                  <c:v>0.78621837756921698</c:v>
                </c:pt>
                <c:pt idx="3">
                  <c:v>0.88492693553488166</c:v>
                </c:pt>
                <c:pt idx="4">
                  <c:v>0.68763798629308259</c:v>
                </c:pt>
                <c:pt idx="5">
                  <c:v>0.90792374818850874</c:v>
                </c:pt>
                <c:pt idx="6">
                  <c:v>0.89535283950567823</c:v>
                </c:pt>
                <c:pt idx="7">
                  <c:v>0.82352541663904355</c:v>
                </c:pt>
                <c:pt idx="8">
                  <c:v>0.85772130078904696</c:v>
                </c:pt>
                <c:pt idx="9">
                  <c:v>0.78609191777291998</c:v>
                </c:pt>
                <c:pt idx="10">
                  <c:v>0.78748409275469167</c:v>
                </c:pt>
                <c:pt idx="11">
                  <c:v>0.9068155886052458</c:v>
                </c:pt>
                <c:pt idx="12">
                  <c:v>0.73713481267034398</c:v>
                </c:pt>
                <c:pt idx="13">
                  <c:v>0.86463963558872159</c:v>
                </c:pt>
                <c:pt idx="14">
                  <c:v>0.83264908670242554</c:v>
                </c:pt>
                <c:pt idx="15">
                  <c:v>0.8277725348421231</c:v>
                </c:pt>
                <c:pt idx="16">
                  <c:v>0.69569301879600531</c:v>
                </c:pt>
                <c:pt idx="17">
                  <c:v>0.78913206794732638</c:v>
                </c:pt>
                <c:pt idx="18">
                  <c:v>0.84049293174988338</c:v>
                </c:pt>
                <c:pt idx="19">
                  <c:v>0.81480596344038692</c:v>
                </c:pt>
                <c:pt idx="20">
                  <c:v>0.83479387764872626</c:v>
                </c:pt>
                <c:pt idx="21">
                  <c:v>0.72921593340701596</c:v>
                </c:pt>
                <c:pt idx="22">
                  <c:v>0.77230443463046283</c:v>
                </c:pt>
                <c:pt idx="23">
                  <c:v>0.8148768386595433</c:v>
                </c:pt>
                <c:pt idx="24">
                  <c:v>0.65671845635811676</c:v>
                </c:pt>
                <c:pt idx="25">
                  <c:v>0.84968538294586593</c:v>
                </c:pt>
                <c:pt idx="26">
                  <c:v>0.5523405970802896</c:v>
                </c:pt>
                <c:pt idx="27">
                  <c:v>0.66872878666739932</c:v>
                </c:pt>
                <c:pt idx="28">
                  <c:v>0.44464176082148676</c:v>
                </c:pt>
                <c:pt idx="29">
                  <c:v>0.5116621694088459</c:v>
                </c:pt>
                <c:pt idx="30">
                  <c:v>0.83357163448072069</c:v>
                </c:pt>
                <c:pt idx="31">
                  <c:v>0.91800420730089882</c:v>
                </c:pt>
                <c:pt idx="32">
                  <c:v>0.74281402685965692</c:v>
                </c:pt>
                <c:pt idx="33">
                  <c:v>0.61376271802036142</c:v>
                </c:pt>
                <c:pt idx="34">
                  <c:v>0.62921351135331527</c:v>
                </c:pt>
                <c:pt idx="35">
                  <c:v>0.73821273544570387</c:v>
                </c:pt>
                <c:pt idx="36">
                  <c:v>0.62376153305152504</c:v>
                </c:pt>
                <c:pt idx="37">
                  <c:v>0.55890006487839738</c:v>
                </c:pt>
                <c:pt idx="38">
                  <c:v>0.55961293741100748</c:v>
                </c:pt>
                <c:pt idx="39">
                  <c:v>0.67587613205253005</c:v>
                </c:pt>
                <c:pt idx="40">
                  <c:v>0.4398865266403435</c:v>
                </c:pt>
                <c:pt idx="41">
                  <c:v>0.56610369206946476</c:v>
                </c:pt>
                <c:pt idx="42">
                  <c:v>0.59414079330337211</c:v>
                </c:pt>
                <c:pt idx="43">
                  <c:v>0.62630792772503818</c:v>
                </c:pt>
                <c:pt idx="44">
                  <c:v>0.7118330801721251</c:v>
                </c:pt>
                <c:pt idx="45">
                  <c:v>0.58021796699039185</c:v>
                </c:pt>
                <c:pt idx="46">
                  <c:v>0.34866704131183668</c:v>
                </c:pt>
                <c:pt idx="47">
                  <c:v>0.63784018212079141</c:v>
                </c:pt>
                <c:pt idx="48">
                  <c:v>0.44075095998842206</c:v>
                </c:pt>
                <c:pt idx="49">
                  <c:v>0.46486418376420624</c:v>
                </c:pt>
                <c:pt idx="50">
                  <c:v>0.46298318179892806</c:v>
                </c:pt>
                <c:pt idx="51">
                  <c:v>0.56292202897470867</c:v>
                </c:pt>
                <c:pt idx="52">
                  <c:v>0.57976845801867516</c:v>
                </c:pt>
                <c:pt idx="53">
                  <c:v>0.34485078635824434</c:v>
                </c:pt>
                <c:pt idx="54">
                  <c:v>0.37024580682160146</c:v>
                </c:pt>
                <c:pt idx="55">
                  <c:v>0.46030910124271796</c:v>
                </c:pt>
                <c:pt idx="56">
                  <c:v>0.39972105905122851</c:v>
                </c:pt>
                <c:pt idx="57">
                  <c:v>0.59644733482025047</c:v>
                </c:pt>
                <c:pt idx="58">
                  <c:v>0.40252849687597941</c:v>
                </c:pt>
                <c:pt idx="59">
                  <c:v>0.58472266368148096</c:v>
                </c:pt>
                <c:pt idx="60">
                  <c:v>0.39355341243425657</c:v>
                </c:pt>
                <c:pt idx="61">
                  <c:v>0.44652478857311695</c:v>
                </c:pt>
                <c:pt idx="62">
                  <c:v>0.44394497465152605</c:v>
                </c:pt>
                <c:pt idx="63">
                  <c:v>0.27138763494688833</c:v>
                </c:pt>
                <c:pt idx="64">
                  <c:v>0.41748482480316645</c:v>
                </c:pt>
                <c:pt idx="65">
                  <c:v>0.46936889782230268</c:v>
                </c:pt>
                <c:pt idx="66">
                  <c:v>0.40427009851895002</c:v>
                </c:pt>
                <c:pt idx="67">
                  <c:v>0.45933909771999726</c:v>
                </c:pt>
                <c:pt idx="68">
                  <c:v>0.47565686850999039</c:v>
                </c:pt>
                <c:pt idx="69">
                  <c:v>0.23198010967444618</c:v>
                </c:pt>
                <c:pt idx="70">
                  <c:v>0.32509591045134378</c:v>
                </c:pt>
                <c:pt idx="71">
                  <c:v>0.39656937262430064</c:v>
                </c:pt>
                <c:pt idx="72">
                  <c:v>0.31137448542404794</c:v>
                </c:pt>
                <c:pt idx="73">
                  <c:v>0.47611733327143785</c:v>
                </c:pt>
                <c:pt idx="74">
                  <c:v>0.31319966609353878</c:v>
                </c:pt>
                <c:pt idx="75">
                  <c:v>0.62795393011296818</c:v>
                </c:pt>
                <c:pt idx="76">
                  <c:v>0.41909638514078962</c:v>
                </c:pt>
                <c:pt idx="77">
                  <c:v>0.3039954256958885</c:v>
                </c:pt>
                <c:pt idx="78">
                  <c:v>0.44581643871851473</c:v>
                </c:pt>
                <c:pt idx="79">
                  <c:v>0.59149449855909408</c:v>
                </c:pt>
                <c:pt idx="80">
                  <c:v>0.48062905790386257</c:v>
                </c:pt>
                <c:pt idx="81">
                  <c:v>0.57705217316379498</c:v>
                </c:pt>
                <c:pt idx="82">
                  <c:v>0.4997225887325315</c:v>
                </c:pt>
                <c:pt idx="83">
                  <c:v>0.54001959350132589</c:v>
                </c:pt>
                <c:pt idx="84">
                  <c:v>0.49053199922469304</c:v>
                </c:pt>
                <c:pt idx="85">
                  <c:v>0.50488515799036104</c:v>
                </c:pt>
                <c:pt idx="86">
                  <c:v>0.47659521732465993</c:v>
                </c:pt>
                <c:pt idx="87">
                  <c:v>0.41412195865864054</c:v>
                </c:pt>
                <c:pt idx="88">
                  <c:v>0.38122413814666634</c:v>
                </c:pt>
                <c:pt idx="89">
                  <c:v>0.48217173692476933</c:v>
                </c:pt>
                <c:pt idx="90">
                  <c:v>0.46586829877368607</c:v>
                </c:pt>
                <c:pt idx="91">
                  <c:v>0.35381846599034211</c:v>
                </c:pt>
                <c:pt idx="92">
                  <c:v>0.53851342048260664</c:v>
                </c:pt>
                <c:pt idx="93">
                  <c:v>0.39078961292817316</c:v>
                </c:pt>
                <c:pt idx="94">
                  <c:v>0.49647183115807969</c:v>
                </c:pt>
                <c:pt idx="95">
                  <c:v>0.50951870722378712</c:v>
                </c:pt>
                <c:pt idx="96">
                  <c:v>0.41328896020459926</c:v>
                </c:pt>
                <c:pt idx="97">
                  <c:v>0.7074604824065055</c:v>
                </c:pt>
                <c:pt idx="98">
                  <c:v>0.56262713398653752</c:v>
                </c:pt>
                <c:pt idx="99">
                  <c:v>0.55453792752267395</c:v>
                </c:pt>
                <c:pt idx="100">
                  <c:v>0.37632463302494146</c:v>
                </c:pt>
                <c:pt idx="101">
                  <c:v>0.80933828205064062</c:v>
                </c:pt>
              </c:numCache>
            </c:numRef>
          </c:yVal>
          <c:smooth val="0"/>
          <c:extLst xmlns:c16r2="http://schemas.microsoft.com/office/drawing/2015/06/chart">
            <c:ext xmlns:c16="http://schemas.microsoft.com/office/drawing/2014/chart" uri="{C3380CC4-5D6E-409C-BE32-E72D297353CC}">
              <c16:uniqueId val="{00000067-4B68-4B4D-81B7-F82D6E3512C3}"/>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dLblPos val="t"/>
          <c:showLegendKey val="0"/>
          <c:showVal val="1"/>
          <c:showCatName val="0"/>
          <c:showSerName val="0"/>
          <c:showPercent val="0"/>
          <c:showBubbleSize val="0"/>
        </c:dLbls>
        <c:axId val="230494720"/>
        <c:axId val="230500208"/>
      </c:scatterChart>
      <c:valAx>
        <c:axId val="230494720"/>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500208"/>
        <c:crosses val="autoZero"/>
        <c:crossBetween val="midCat"/>
      </c:valAx>
      <c:valAx>
        <c:axId val="230500208"/>
        <c:scaling>
          <c:orientation val="minMax"/>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Helping</a:t>
                </a:r>
                <a:r>
                  <a:rPr lang="en-SG" sz="1100" baseline="0"/>
                  <a:t> People Rise Pillar</a:t>
                </a:r>
                <a:endParaRPr lang="en-SG" sz="1100"/>
              </a:p>
            </c:rich>
          </c:tx>
          <c:layout>
            <c:manualLayout>
              <c:xMode val="edge"/>
              <c:yMode val="edge"/>
              <c:x val="1.8606630474460061E-2"/>
              <c:y val="0.34826849990080716"/>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94720"/>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154311020675468E-2"/>
          <c:y val="5.1892856971907507E-2"/>
          <c:w val="0.96392114045931565"/>
          <c:h val="0.89503854002626237"/>
        </c:manualLayout>
      </c:layout>
      <c:scatterChart>
        <c:scatterStyle val="lineMarker"/>
        <c:varyColors val="0"/>
        <c:ser>
          <c:idx val="1"/>
          <c:order val="0"/>
          <c:tx>
            <c:v>High Income</c:v>
          </c:tx>
          <c:spPr>
            <a:ln w="19050" cap="rnd">
              <a:noFill/>
              <a:round/>
            </a:ln>
            <a:effectLst/>
          </c:spPr>
          <c:marker>
            <c:symbol val="circle"/>
            <c:size val="5"/>
            <c:spPr>
              <a:noFill/>
              <a:ln w="9525">
                <a:noFill/>
              </a:ln>
              <a:effectLst/>
            </c:spPr>
          </c:marker>
          <c:dLbls>
            <c:dLbl>
              <c:idx val="0"/>
              <c:layout>
                <c:manualLayout>
                  <c:x val="-3.0331824360518584E-2"/>
                  <c:y val="6.0789691600013403E-3"/>
                </c:manualLayout>
              </c:layout>
              <c:tx>
                <c:rich>
                  <a:bodyPr/>
                  <a:lstStyle/>
                  <a:p>
                    <a:fld id="{4516DD40-F181-40CF-BE30-AD704C45EE3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0AB6-4F04-8E31-ED01CCE57E79}"/>
                </c:ext>
                <c:ext xmlns:c15="http://schemas.microsoft.com/office/drawing/2012/chart" uri="{CE6537A1-D6FC-4f65-9D91-7224C49458BB}">
                  <c15:layout/>
                  <c15:dlblFieldTable/>
                  <c15:showDataLabelsRange val="1"/>
                </c:ext>
              </c:extLst>
            </c:dLbl>
            <c:dLbl>
              <c:idx val="1"/>
              <c:layout/>
              <c:tx>
                <c:rich>
                  <a:bodyPr/>
                  <a:lstStyle/>
                  <a:p>
                    <a:fld id="{30D8EA60-88A9-4EC9-83AE-6E27707A6F4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D3759E4D-26C9-4213-90B6-09C486979F4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manualLayout>
                  <c:x val="-2.3465488439637385E-2"/>
                  <c:y val="4.0526461066675602E-3"/>
                </c:manualLayout>
              </c:layout>
              <c:tx>
                <c:rich>
                  <a:bodyPr/>
                  <a:lstStyle/>
                  <a:p>
                    <a:fld id="{6E02911D-DD26-4AD8-BE87-C20F2DF7985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3-0AB6-4F04-8E31-ED01CCE57E79}"/>
                </c:ext>
                <c:ext xmlns:c15="http://schemas.microsoft.com/office/drawing/2012/chart" uri="{CE6537A1-D6FC-4f65-9D91-7224C49458BB}">
                  <c15:layout/>
                  <c15:dlblFieldTable/>
                  <c15:showDataLabelsRange val="1"/>
                </c:ext>
              </c:extLst>
            </c:dLbl>
            <c:dLbl>
              <c:idx val="4"/>
              <c:layout/>
              <c:tx>
                <c:rich>
                  <a:bodyPr/>
                  <a:lstStyle/>
                  <a:p>
                    <a:fld id="{1FA97D81-4168-46E7-8F15-2D5775A5D54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9D1A03BF-D5CC-4F49-92CF-EFC450EF3F47}"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7595F525-0463-43AE-9190-F312821B416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manualLayout>
                  <c:x val="-1.8725016023805028E-2"/>
                  <c:y val="2.0263230533337801E-3"/>
                </c:manualLayout>
              </c:layout>
              <c:tx>
                <c:rich>
                  <a:bodyPr/>
                  <a:lstStyle/>
                  <a:p>
                    <a:fld id="{F0BC043B-CB24-4F5F-9A74-AC9C991CB5D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0AB6-4F04-8E31-ED01CCE57E79}"/>
                </c:ext>
                <c:ext xmlns:c15="http://schemas.microsoft.com/office/drawing/2012/chart" uri="{CE6537A1-D6FC-4f65-9D91-7224C49458BB}">
                  <c15:layout/>
                  <c15:dlblFieldTable/>
                  <c15:showDataLabelsRange val="1"/>
                </c:ext>
              </c:extLst>
            </c:dLbl>
            <c:dLbl>
              <c:idx val="8"/>
              <c:layout>
                <c:manualLayout>
                  <c:x val="-3.1815671281315995E-2"/>
                  <c:y val="4.0526461066675229E-3"/>
                </c:manualLayout>
              </c:layout>
              <c:tx>
                <c:rich>
                  <a:bodyPr/>
                  <a:lstStyle/>
                  <a:p>
                    <a:fld id="{EBB4354D-DA6B-4900-BA9E-6B2BA0C90EC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0AB6-4F04-8E31-ED01CCE57E79}"/>
                </c:ext>
                <c:ext xmlns:c15="http://schemas.microsoft.com/office/drawing/2012/chart" uri="{CE6537A1-D6FC-4f65-9D91-7224C49458BB}">
                  <c15:layout/>
                  <c15:dlblFieldTable/>
                  <c15:showDataLabelsRange val="1"/>
                </c:ext>
              </c:extLst>
            </c:dLbl>
            <c:dLbl>
              <c:idx val="9"/>
              <c:layout>
                <c:manualLayout>
                  <c:x val="-2.0746569976808238E-2"/>
                  <c:y val="-1.857441341568419E-17"/>
                </c:manualLayout>
              </c:layout>
              <c:tx>
                <c:rich>
                  <a:bodyPr/>
                  <a:lstStyle/>
                  <a:p>
                    <a:fld id="{832D9E2C-97ED-4ADA-9F84-05A24980A1D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9-0AB6-4F04-8E31-ED01CCE57E79}"/>
                </c:ext>
                <c:ext xmlns:c15="http://schemas.microsoft.com/office/drawing/2012/chart" uri="{CE6537A1-D6FC-4f65-9D91-7224C49458BB}">
                  <c15:layout/>
                  <c15:dlblFieldTable/>
                  <c15:showDataLabelsRange val="1"/>
                </c:ext>
              </c:extLst>
            </c:dLbl>
            <c:dLbl>
              <c:idx val="10"/>
              <c:layout/>
              <c:tx>
                <c:rich>
                  <a:bodyPr/>
                  <a:lstStyle/>
                  <a:p>
                    <a:fld id="{A5B3F898-D69D-43EE-AF4E-40E5ACE6B83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1"/>
              <c:layout/>
              <c:tx>
                <c:rich>
                  <a:bodyPr/>
                  <a:lstStyle/>
                  <a:p>
                    <a:fld id="{7DF590BE-52AE-49C0-AF38-AFAD4BF9FED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2"/>
              <c:layout/>
              <c:tx>
                <c:rich>
                  <a:bodyPr/>
                  <a:lstStyle/>
                  <a:p>
                    <a:fld id="{F64E51D1-A954-431C-9420-A6D5FD21B650}"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1B0B1EC9-7688-40CD-8576-6B0C02410B0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tx>
                <c:rich>
                  <a:bodyPr/>
                  <a:lstStyle/>
                  <a:p>
                    <a:fld id="{2061C7E6-3536-4F66-857A-629CE80AE16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5"/>
              <c:layout>
                <c:manualLayout>
                  <c:x val="-2.5023068086463523E-2"/>
                  <c:y val="-6.0789691600013776E-3"/>
                </c:manualLayout>
              </c:layout>
              <c:tx>
                <c:rich>
                  <a:bodyPr/>
                  <a:lstStyle/>
                  <a:p>
                    <a:fld id="{9C7ABED1-371C-4558-B84C-C567C97A2AF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0AB6-4F04-8E31-ED01CCE57E79}"/>
                </c:ext>
                <c:ext xmlns:c15="http://schemas.microsoft.com/office/drawing/2012/chart" uri="{CE6537A1-D6FC-4f65-9D91-7224C49458BB}">
                  <c15:layout/>
                  <c15:dlblFieldTable/>
                  <c15:showDataLabelsRange val="1"/>
                </c:ext>
              </c:extLst>
            </c:dLbl>
            <c:dLbl>
              <c:idx val="16"/>
              <c:layout>
                <c:manualLayout>
                  <c:x val="-1.8915540613766008E-2"/>
                  <c:y val="6.0789691600013403E-3"/>
                </c:manualLayout>
              </c:layout>
              <c:tx>
                <c:rich>
                  <a:bodyPr/>
                  <a:lstStyle/>
                  <a:p>
                    <a:fld id="{D96C0F1C-5EF1-4469-8E47-637D22EA7257}" type="CELLRANGE">
                      <a:rPr lang="en-US" dirty="0"/>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0-0AB6-4F04-8E31-ED01CCE57E79}"/>
                </c:ext>
                <c:ext xmlns:c15="http://schemas.microsoft.com/office/drawing/2012/chart" uri="{CE6537A1-D6FC-4f65-9D91-7224C49458BB}">
                  <c15:layout/>
                  <c15:dlblFieldTable/>
                  <c15:showDataLabelsRange val="1"/>
                </c:ext>
              </c:extLst>
            </c:dLbl>
            <c:dLbl>
              <c:idx val="17"/>
              <c:layout/>
              <c:tx>
                <c:rich>
                  <a:bodyPr/>
                  <a:lstStyle/>
                  <a:p>
                    <a:fld id="{3F8CA0A8-A2E4-4B75-B992-911097060AC3}"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manualLayout>
                  <c:x val="-2.8233538056149979E-2"/>
                  <c:y val="-2.0263230533338174E-3"/>
                </c:manualLayout>
              </c:layout>
              <c:tx>
                <c:rich>
                  <a:bodyPr/>
                  <a:lstStyle/>
                  <a:p>
                    <a:fld id="{67440664-92C7-4268-9A80-CE8DF30A947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0AB6-4F04-8E31-ED01CCE57E79}"/>
                </c:ext>
                <c:ext xmlns:c15="http://schemas.microsoft.com/office/drawing/2012/chart" uri="{CE6537A1-D6FC-4f65-9D91-7224C49458BB}">
                  <c15:layout/>
                  <c15:dlblFieldTable/>
                  <c15:showDataLabelsRange val="1"/>
                </c:ext>
              </c:extLst>
            </c:dLbl>
            <c:dLbl>
              <c:idx val="19"/>
              <c:layout/>
              <c:tx>
                <c:rich>
                  <a:bodyPr/>
                  <a:lstStyle/>
                  <a:p>
                    <a:fld id="{E5D747A0-413E-48BA-889D-A94524486E0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manualLayout>
                  <c:x val="-3.4863290623829271E-2"/>
                  <c:y val="4.0526461066675602E-3"/>
                </c:manualLayout>
              </c:layout>
              <c:tx>
                <c:rich>
                  <a:bodyPr/>
                  <a:lstStyle/>
                  <a:p>
                    <a:fld id="{10D6681A-198B-4B8E-A206-0FD544F5AD0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4-0AB6-4F04-8E31-ED01CCE57E79}"/>
                </c:ext>
                <c:ext xmlns:c15="http://schemas.microsoft.com/office/drawing/2012/chart" uri="{CE6537A1-D6FC-4f65-9D91-7224C49458BB}">
                  <c15:layout/>
                  <c15:dlblFieldTable/>
                  <c15:showDataLabelsRange val="1"/>
                </c:ext>
              </c:extLst>
            </c:dLbl>
            <c:dLbl>
              <c:idx val="21"/>
              <c:layout>
                <c:manualLayout>
                  <c:x val="-5.2847979762011658E-2"/>
                  <c:y val="4.0526461066675602E-3"/>
                </c:manualLayout>
              </c:layout>
              <c:tx>
                <c:rich>
                  <a:bodyPr/>
                  <a:lstStyle/>
                  <a:p>
                    <a:fld id="{08D11B28-EC8A-430E-9FB4-E585F5525F4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0AB6-4F04-8E31-ED01CCE57E79}"/>
                </c:ext>
                <c:ext xmlns:c15="http://schemas.microsoft.com/office/drawing/2012/chart" uri="{CE6537A1-D6FC-4f65-9D91-7224C49458BB}">
                  <c15:layout/>
                  <c15:dlblFieldTable/>
                  <c15:showDataLabelsRange val="1"/>
                </c:ext>
              </c:extLst>
            </c:dLbl>
            <c:dLbl>
              <c:idx val="22"/>
              <c:layout/>
              <c:tx>
                <c:rich>
                  <a:bodyPr/>
                  <a:lstStyle/>
                  <a:p>
                    <a:fld id="{1FA7ED9C-D728-4A5B-BE5A-165732F79AA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D3F3CA95-3CAA-4F86-A531-CE1B3425534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manualLayout>
                  <c:x val="-2.5947823549265073E-2"/>
                  <c:y val="-4.0526461066675602E-3"/>
                </c:manualLayout>
              </c:layout>
              <c:tx>
                <c:rich>
                  <a:bodyPr/>
                  <a:lstStyle/>
                  <a:p>
                    <a:fld id="{7B47CB92-3C85-4BCD-9DC7-C7B7A0C6319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8-0AB6-4F04-8E31-ED01CCE57E79}"/>
                </c:ext>
                <c:ext xmlns:c15="http://schemas.microsoft.com/office/drawing/2012/chart" uri="{CE6537A1-D6FC-4f65-9D91-7224C49458BB}">
                  <c15:layout/>
                  <c15:dlblFieldTable/>
                  <c15:showDataLabelsRange val="1"/>
                </c:ext>
              </c:extLst>
            </c:dLbl>
            <c:dLbl>
              <c:idx val="25"/>
              <c:layout/>
              <c:tx>
                <c:rich>
                  <a:bodyPr/>
                  <a:lstStyle/>
                  <a:p>
                    <a:fld id="{AA0F1F13-214A-42A9-BDCB-1E2285D68F9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manualLayout>
                  <c:x val="-4.8890990131813215E-2"/>
                  <c:y val="-6.0789691600013403E-3"/>
                </c:manualLayout>
              </c:layout>
              <c:tx>
                <c:rich>
                  <a:bodyPr/>
                  <a:lstStyle/>
                  <a:p>
                    <a:fld id="{48F9C27E-94FF-4929-ABB6-0C7CB61305C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A-0AB6-4F04-8E31-ED01CCE57E79}"/>
                </c:ext>
                <c:ext xmlns:c15="http://schemas.microsoft.com/office/drawing/2012/chart" uri="{CE6537A1-D6FC-4f65-9D91-7224C49458BB}">
                  <c15:layout/>
                  <c15:dlblFieldTable/>
                  <c15:showDataLabelsRange val="1"/>
                </c:ext>
              </c:extLst>
            </c:dLbl>
            <c:dLbl>
              <c:idx val="27"/>
              <c:layout/>
              <c:tx>
                <c:rich>
                  <a:bodyPr/>
                  <a:lstStyle/>
                  <a:p>
                    <a:fld id="{052DF1CE-C472-43EF-9706-A616D8AE5F0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manualLayout>
                  <c:x val="-3.7935487541685117E-2"/>
                  <c:y val="4.0526461066675229E-3"/>
                </c:manualLayout>
              </c:layout>
              <c:tx>
                <c:rich>
                  <a:bodyPr/>
                  <a:lstStyle/>
                  <a:p>
                    <a:fld id="{26267B24-1916-444D-B024-BA0BC642D52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C-0AB6-4F04-8E31-ED01CCE57E79}"/>
                </c:ext>
                <c:ext xmlns:c15="http://schemas.microsoft.com/office/drawing/2012/chart" uri="{CE6537A1-D6FC-4f65-9D91-7224C49458BB}">
                  <c15:layout/>
                  <c15:dlblFieldTable/>
                  <c15:showDataLabelsRange val="1"/>
                </c:ext>
              </c:extLst>
            </c:dLbl>
            <c:dLbl>
              <c:idx val="29"/>
              <c:layout/>
              <c:tx>
                <c:rich>
                  <a:bodyPr/>
                  <a:lstStyle/>
                  <a:p>
                    <a:fld id="{B0E24714-4CB9-4EB1-AB0D-32158BC4564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manualLayout>
                  <c:x val="-3.5631388234347167E-2"/>
                  <c:y val="8.105292213335084E-3"/>
                </c:manualLayout>
              </c:layout>
              <c:tx>
                <c:rich>
                  <a:bodyPr/>
                  <a:lstStyle/>
                  <a:p>
                    <a:fld id="{722D83B2-AAA0-4D60-85FC-87125C88C5F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E-0AB6-4F04-8E31-ED01CCE57E79}"/>
                </c:ext>
                <c:ext xmlns:c15="http://schemas.microsoft.com/office/drawing/2012/chart" uri="{CE6537A1-D6FC-4f65-9D91-7224C49458BB}">
                  <c15:layout/>
                  <c15:dlblFieldTable/>
                  <c15:showDataLabelsRange val="1"/>
                </c:ext>
              </c:extLst>
            </c:dLbl>
            <c:dLbl>
              <c:idx val="31"/>
              <c:layout>
                <c:manualLayout>
                  <c:x val="-2.4368665952433297E-2"/>
                  <c:y val="8.1052922133351205E-3"/>
                </c:manualLayout>
              </c:layout>
              <c:tx>
                <c:rich>
                  <a:bodyPr/>
                  <a:lstStyle/>
                  <a:p>
                    <a:fld id="{0849F1C0-12B1-4C64-A718-EC6FA14E0A7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0AB6-4F04-8E31-ED01CCE57E79}"/>
                </c:ext>
                <c:ext xmlns:c15="http://schemas.microsoft.com/office/drawing/2012/chart" uri="{CE6537A1-D6FC-4f65-9D91-7224C49458BB}">
                  <c15:layout/>
                  <c15:dlblFieldTable/>
                  <c15:showDataLabelsRange val="1"/>
                </c:ext>
              </c:extLst>
            </c:dLbl>
            <c:dLbl>
              <c:idx val="32"/>
              <c:layout/>
              <c:tx>
                <c:rich>
                  <a:bodyPr/>
                  <a:lstStyle/>
                  <a:p>
                    <a:fld id="{21F981E6-8A0F-48C6-BEE7-4E9108E053C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3.6989250890985488E-2"/>
                  <c:y val="2.0263230533337801E-3"/>
                </c:manualLayout>
              </c:layout>
              <c:tx>
                <c:rich>
                  <a:bodyPr/>
                  <a:lstStyle/>
                  <a:p>
                    <a:fld id="{ED31BABC-8AB3-4AEC-B9D4-7A7A84A0338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0AB6-4F04-8E31-ED01CCE57E79}"/>
                </c:ext>
                <c:ext xmlns:c15="http://schemas.microsoft.com/office/drawing/2012/chart" uri="{CE6537A1-D6FC-4f65-9D91-7224C49458BB}">
                  <c15:layout/>
                  <c15:dlblFieldTable/>
                  <c15:showDataLabelsRange val="1"/>
                </c:ext>
              </c:extLst>
            </c:dLbl>
            <c:dLbl>
              <c:idx val="34"/>
              <c:layout/>
              <c:tx>
                <c:rich>
                  <a:bodyPr/>
                  <a:lstStyle/>
                  <a:p>
                    <a:fld id="{470FCB29-AC9B-434F-8256-CB3869AEAB7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5"/>
              <c:layout/>
              <c:tx>
                <c:rich>
                  <a:bodyPr/>
                  <a:lstStyle/>
                  <a:p>
                    <a:fld id="{65167B1B-DDAA-427B-8C78-229B43E0044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800" b="0" i="0" u="none" strike="noStrike" kern="1200" baseline="0">
                    <a:solidFill>
                      <a:srgbClr val="1B2253"/>
                    </a:solidFill>
                    <a:latin typeface="Gill Sans MT Std Medium"/>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xVal>
            <c:numRef>
              <c:f>'Income Bands &amp; Population chart'!$G$5:$G$40</c:f>
              <c:numCache>
                <c:formatCode>0.000</c:formatCode>
                <c:ptCount val="36"/>
                <c:pt idx="0">
                  <c:v>0.72626875206613495</c:v>
                </c:pt>
                <c:pt idx="1">
                  <c:v>0.7316263784265582</c:v>
                </c:pt>
                <c:pt idx="2">
                  <c:v>0.68508429462988829</c:v>
                </c:pt>
                <c:pt idx="3">
                  <c:v>0.7446928874606028</c:v>
                </c:pt>
                <c:pt idx="4">
                  <c:v>0.67213966764499566</c:v>
                </c:pt>
                <c:pt idx="5">
                  <c:v>0.54526825501271659</c:v>
                </c:pt>
                <c:pt idx="6">
                  <c:v>0.67457108802314758</c:v>
                </c:pt>
                <c:pt idx="7">
                  <c:v>0.81335434027984121</c:v>
                </c:pt>
                <c:pt idx="8">
                  <c:v>0.73351781147081696</c:v>
                </c:pt>
                <c:pt idx="9">
                  <c:v>0.82355973536252902</c:v>
                </c:pt>
                <c:pt idx="10">
                  <c:v>0.72877599709002294</c:v>
                </c:pt>
                <c:pt idx="11">
                  <c:v>0.79462346422605157</c:v>
                </c:pt>
                <c:pt idx="12">
                  <c:v>0.48950660998731355</c:v>
                </c:pt>
                <c:pt idx="13">
                  <c:v>0.58342343359111859</c:v>
                </c:pt>
                <c:pt idx="14">
                  <c:v>0.69266771612841538</c:v>
                </c:pt>
                <c:pt idx="15">
                  <c:v>0.74872698541370453</c:v>
                </c:pt>
                <c:pt idx="16">
                  <c:v>0.65189731281834262</c:v>
                </c:pt>
                <c:pt idx="17">
                  <c:v>0.57279064498108512</c:v>
                </c:pt>
                <c:pt idx="18">
                  <c:v>0.72860823044862222</c:v>
                </c:pt>
                <c:pt idx="19">
                  <c:v>0.61296511985681112</c:v>
                </c:pt>
                <c:pt idx="20">
                  <c:v>0.63569491588920102</c:v>
                </c:pt>
                <c:pt idx="21">
                  <c:v>0.7995794147021601</c:v>
                </c:pt>
                <c:pt idx="22">
                  <c:v>0.77801810416759054</c:v>
                </c:pt>
                <c:pt idx="23">
                  <c:v>0.79082225049103705</c:v>
                </c:pt>
                <c:pt idx="24">
                  <c:v>0.64388959373259325</c:v>
                </c:pt>
                <c:pt idx="25">
                  <c:v>0.65111982854632666</c:v>
                </c:pt>
                <c:pt idx="26">
                  <c:v>0.81712865579014238</c:v>
                </c:pt>
                <c:pt idx="27">
                  <c:v>0.65373112294913427</c:v>
                </c:pt>
                <c:pt idx="28">
                  <c:v>0.70672533692299389</c:v>
                </c:pt>
                <c:pt idx="29">
                  <c:v>0.63753996493446519</c:v>
                </c:pt>
                <c:pt idx="30">
                  <c:v>0.79805970843468776</c:v>
                </c:pt>
                <c:pt idx="31">
                  <c:v>0.82360525211529534</c:v>
                </c:pt>
                <c:pt idx="32">
                  <c:v>0.67649944412101271</c:v>
                </c:pt>
                <c:pt idx="33">
                  <c:v>0.76021702650332124</c:v>
                </c:pt>
                <c:pt idx="34">
                  <c:v>0.75183242223104962</c:v>
                </c:pt>
                <c:pt idx="35">
                  <c:v>0.57908319502830019</c:v>
                </c:pt>
              </c:numCache>
            </c:numRef>
          </c:xVal>
          <c:yVal>
            <c:numRef>
              <c:f>'Income Bands &amp; Population chart'!$H$5:$H$40</c:f>
              <c:numCache>
                <c:formatCode>0.000</c:formatCode>
                <c:ptCount val="36"/>
                <c:pt idx="0">
                  <c:v>0.78621837756921698</c:v>
                </c:pt>
                <c:pt idx="1">
                  <c:v>0.85772130078904696</c:v>
                </c:pt>
                <c:pt idx="2">
                  <c:v>0.83357163448072069</c:v>
                </c:pt>
                <c:pt idx="3">
                  <c:v>0.81480596344038692</c:v>
                </c:pt>
                <c:pt idx="4">
                  <c:v>0.5523405970802896</c:v>
                </c:pt>
                <c:pt idx="5">
                  <c:v>0.7074604824065055</c:v>
                </c:pt>
                <c:pt idx="6">
                  <c:v>0.8148768386595433</c:v>
                </c:pt>
                <c:pt idx="7">
                  <c:v>0.88756486284405078</c:v>
                </c:pt>
                <c:pt idx="8">
                  <c:v>0.82352541663904355</c:v>
                </c:pt>
                <c:pt idx="9">
                  <c:v>0.90924005749533165</c:v>
                </c:pt>
                <c:pt idx="10">
                  <c:v>0.78913206794732638</c:v>
                </c:pt>
                <c:pt idx="11">
                  <c:v>0.84049293174988338</c:v>
                </c:pt>
                <c:pt idx="12">
                  <c:v>0.65671845635811676</c:v>
                </c:pt>
                <c:pt idx="13">
                  <c:v>0.66872878666739932</c:v>
                </c:pt>
                <c:pt idx="14">
                  <c:v>0.84968538294586593</c:v>
                </c:pt>
                <c:pt idx="15">
                  <c:v>0.83479387764872626</c:v>
                </c:pt>
                <c:pt idx="16">
                  <c:v>0.73821273544570387</c:v>
                </c:pt>
                <c:pt idx="17">
                  <c:v>0.69569301879600531</c:v>
                </c:pt>
                <c:pt idx="18">
                  <c:v>0.83264908670242554</c:v>
                </c:pt>
                <c:pt idx="19">
                  <c:v>0.74281402685965692</c:v>
                </c:pt>
                <c:pt idx="20">
                  <c:v>0.72921593340701596</c:v>
                </c:pt>
                <c:pt idx="21">
                  <c:v>0.89535283950567823</c:v>
                </c:pt>
                <c:pt idx="22">
                  <c:v>0.78748409275469167</c:v>
                </c:pt>
                <c:pt idx="23">
                  <c:v>0.90792374818850874</c:v>
                </c:pt>
                <c:pt idx="24">
                  <c:v>0.73713481267034398</c:v>
                </c:pt>
                <c:pt idx="25">
                  <c:v>0.77230443463046283</c:v>
                </c:pt>
                <c:pt idx="26">
                  <c:v>0.91800420730089882</c:v>
                </c:pt>
                <c:pt idx="27">
                  <c:v>0.86463963558872159</c:v>
                </c:pt>
                <c:pt idx="28">
                  <c:v>0.80933828205064062</c:v>
                </c:pt>
                <c:pt idx="29">
                  <c:v>0.78609191777291998</c:v>
                </c:pt>
                <c:pt idx="30">
                  <c:v>0.88492693553488166</c:v>
                </c:pt>
                <c:pt idx="31">
                  <c:v>0.9068155886052458</c:v>
                </c:pt>
                <c:pt idx="32">
                  <c:v>0.7118330801721251</c:v>
                </c:pt>
                <c:pt idx="33">
                  <c:v>0.8277725348421231</c:v>
                </c:pt>
                <c:pt idx="34">
                  <c:v>0.68763798629308259</c:v>
                </c:pt>
                <c:pt idx="35">
                  <c:v>0.62630792772503818</c:v>
                </c:pt>
              </c:numCache>
            </c:numRef>
          </c:yVal>
          <c:smooth val="0"/>
          <c:extLst xmlns:c16r2="http://schemas.microsoft.com/office/drawing/2015/06/chart">
            <c:ext xmlns:c16="http://schemas.microsoft.com/office/drawing/2014/chart" uri="{C3380CC4-5D6E-409C-BE32-E72D297353CC}">
              <c16:uniqueId val="{00000024-0AB6-4F04-8E31-ED01CCE57E79}"/>
            </c:ext>
            <c:ext xmlns:c15="http://schemas.microsoft.com/office/drawing/2012/chart" uri="{02D57815-91ED-43cb-92C2-25804820EDAC}">
              <c15:datalabelsRange>
                <c15:f>'Income Bands &amp; Population chart'!$B$5:$B$40</c15:f>
                <c15:dlblRangeCache>
                  <c:ptCount val="36"/>
                  <c:pt idx="0">
                    <c:v>Australia</c:v>
                  </c:pt>
                  <c:pt idx="1">
                    <c:v>Austria</c:v>
                  </c:pt>
                  <c:pt idx="2">
                    <c:v>Belgium</c:v>
                  </c:pt>
                  <c:pt idx="3">
                    <c:v>Canada</c:v>
                  </c:pt>
                  <c:pt idx="4">
                    <c:v>Chile</c:v>
                  </c:pt>
                  <c:pt idx="5">
                    <c:v>Croatia</c:v>
                  </c:pt>
                  <c:pt idx="6">
                    <c:v>Czech Republic</c:v>
                  </c:pt>
                  <c:pt idx="7">
                    <c:v>Denmark</c:v>
                  </c:pt>
                  <c:pt idx="8">
                    <c:v>Estonia</c:v>
                  </c:pt>
                  <c:pt idx="9">
                    <c:v>Finland</c:v>
                  </c:pt>
                  <c:pt idx="10">
                    <c:v>France</c:v>
                  </c:pt>
                  <c:pt idx="11">
                    <c:v>Germany</c:v>
                  </c:pt>
                  <c:pt idx="12">
                    <c:v>Greece</c:v>
                  </c:pt>
                  <c:pt idx="13">
                    <c:v>Hungary</c:v>
                  </c:pt>
                  <c:pt idx="14">
                    <c:v>Iceland</c:v>
                  </c:pt>
                  <c:pt idx="15">
                    <c:v>Ireland</c:v>
                  </c:pt>
                  <c:pt idx="16">
                    <c:v>Israel</c:v>
                  </c:pt>
                  <c:pt idx="17">
                    <c:v>Italy</c:v>
                  </c:pt>
                  <c:pt idx="18">
                    <c:v>Japan</c:v>
                  </c:pt>
                  <c:pt idx="19">
                    <c:v>Latvia</c:v>
                  </c:pt>
                  <c:pt idx="20">
                    <c:v>Lithuania</c:v>
                  </c:pt>
                  <c:pt idx="21">
                    <c:v>Netherlands</c:v>
                  </c:pt>
                  <c:pt idx="22">
                    <c:v>New Zealand</c:v>
                  </c:pt>
                  <c:pt idx="23">
                    <c:v>Norway</c:v>
                  </c:pt>
                  <c:pt idx="24">
                    <c:v>Poland</c:v>
                  </c:pt>
                  <c:pt idx="25">
                    <c:v>Portugal</c:v>
                  </c:pt>
                  <c:pt idx="26">
                    <c:v>Singapore</c:v>
                  </c:pt>
                  <c:pt idx="27">
                    <c:v>Slovenia</c:v>
                  </c:pt>
                  <c:pt idx="28">
                    <c:v>South Korea</c:v>
                  </c:pt>
                  <c:pt idx="29">
                    <c:v>Spain</c:v>
                  </c:pt>
                  <c:pt idx="30">
                    <c:v>Sweden</c:v>
                  </c:pt>
                  <c:pt idx="31">
                    <c:v>Switzerland</c:v>
                  </c:pt>
                  <c:pt idx="32">
                    <c:v>United Arab Emirates</c:v>
                  </c:pt>
                  <c:pt idx="33">
                    <c:v>United Kingdom</c:v>
                  </c:pt>
                  <c:pt idx="34">
                    <c:v>United States</c:v>
                  </c:pt>
                  <c:pt idx="35">
                    <c:v>Uruguay</c:v>
                  </c:pt>
                </c15:dlblRangeCache>
              </c15:datalabelsRange>
            </c:ext>
          </c:extLst>
        </c:ser>
        <c:ser>
          <c:idx val="2"/>
          <c:order val="1"/>
          <c:tx>
            <c:v>Upper-middle Income</c:v>
          </c:tx>
          <c:spPr>
            <a:ln w="25400" cap="rnd">
              <a:noFill/>
              <a:round/>
            </a:ln>
            <a:effectLst/>
          </c:spPr>
          <c:marker>
            <c:symbol val="circle"/>
            <c:size val="5"/>
            <c:spPr>
              <a:noFill/>
              <a:ln w="9525">
                <a:noFill/>
              </a:ln>
              <a:effectLst/>
            </c:spPr>
          </c:marker>
          <c:dLbls>
            <c:dLbl>
              <c:idx val="0"/>
              <c:layout/>
              <c:tx>
                <c:rich>
                  <a:bodyPr/>
                  <a:lstStyle/>
                  <a:p>
                    <a:fld id="{C810AA03-675A-43D1-939C-2DE5254DCE0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
              <c:layout/>
              <c:tx>
                <c:rich>
                  <a:bodyPr/>
                  <a:lstStyle/>
                  <a:p>
                    <a:fld id="{9EB9919F-91BA-49CF-809C-28C72B0BA4B0}"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tx>
                <c:rich>
                  <a:bodyPr/>
                  <a:lstStyle/>
                  <a:p>
                    <a:fld id="{B240DFE5-9FEC-4624-9B9E-57CFACDD878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DF78B2A5-F3A3-443C-9655-FF3BEB03FF1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EA8E5F2B-DD12-47A9-98DC-FF4BFD45D77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7DD63EAC-B872-4E9C-81A9-7F4ACB223D0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73F4FD25-852D-42B4-ABED-4AFC77D1A86E}"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tx>
                <c:rich>
                  <a:bodyPr/>
                  <a:lstStyle/>
                  <a:p>
                    <a:fld id="{19914891-D88D-40BA-8286-539495E71C18}"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
              <c:layout/>
              <c:tx>
                <c:rich>
                  <a:bodyPr/>
                  <a:lstStyle/>
                  <a:p>
                    <a:fld id="{574D1DC6-E504-4F35-B704-5C1742C4FA1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
              <c:layout>
                <c:manualLayout>
                  <c:x val="-3.2364022145363006E-2"/>
                  <c:y val="6.0789691600012657E-3"/>
                </c:manualLayout>
              </c:layout>
              <c:tx>
                <c:rich>
                  <a:bodyPr/>
                  <a:lstStyle/>
                  <a:p>
                    <a:fld id="{B72F0FC5-1F99-498F-82B1-E1D167AE60D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0AB6-4F04-8E31-ED01CCE57E79}"/>
                </c:ext>
                <c:ext xmlns:c15="http://schemas.microsoft.com/office/drawing/2012/chart" uri="{CE6537A1-D6FC-4f65-9D91-7224C49458BB}">
                  <c15:layout/>
                  <c15:dlblFieldTable/>
                  <c15:showDataLabelsRange val="1"/>
                </c:ext>
              </c:extLst>
            </c:dLbl>
            <c:dLbl>
              <c:idx val="10"/>
              <c:layout>
                <c:manualLayout>
                  <c:x val="-2.8855815170440693E-2"/>
                  <c:y val="-2.0263230533338543E-3"/>
                </c:manualLayout>
              </c:layout>
              <c:tx>
                <c:rich>
                  <a:bodyPr/>
                  <a:lstStyle/>
                  <a:p>
                    <a:fld id="{22FDBF09-9E2A-4333-B5A3-1DF6159F99B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0AB6-4F04-8E31-ED01CCE57E79}"/>
                </c:ext>
                <c:ext xmlns:c15="http://schemas.microsoft.com/office/drawing/2012/chart" uri="{CE6537A1-D6FC-4f65-9D91-7224C49458BB}">
                  <c15:layout/>
                  <c15:dlblFieldTable/>
                  <c15:showDataLabelsRange val="1"/>
                </c:ext>
              </c:extLst>
            </c:dLbl>
            <c:dLbl>
              <c:idx val="11"/>
              <c:layout>
                <c:manualLayout>
                  <c:x val="-2.6882351984939171E-2"/>
                  <c:y val="-2.0263230533337801E-3"/>
                </c:manualLayout>
              </c:layout>
              <c:tx>
                <c:rich>
                  <a:bodyPr/>
                  <a:lstStyle/>
                  <a:p>
                    <a:fld id="{08887C15-8C10-430E-8B32-9FC68486BE7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0-0AB6-4F04-8E31-ED01CCE57E79}"/>
                </c:ext>
                <c:ext xmlns:c15="http://schemas.microsoft.com/office/drawing/2012/chart" uri="{CE6537A1-D6FC-4f65-9D91-7224C49458BB}">
                  <c15:layout/>
                  <c15:dlblFieldTable/>
                  <c15:showDataLabelsRange val="1"/>
                </c:ext>
              </c:extLst>
            </c:dLbl>
            <c:dLbl>
              <c:idx val="12"/>
              <c:layout/>
              <c:tx>
                <c:rich>
                  <a:bodyPr/>
                  <a:lstStyle/>
                  <a:p>
                    <a:fld id="{922CFE83-EC72-4787-BA31-173CA1093DD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5AD09310-429A-4D6A-B6AE-B36DD8098C56}"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tx>
                <c:rich>
                  <a:bodyPr/>
                  <a:lstStyle/>
                  <a:p>
                    <a:fld id="{DE93CF81-E29A-48BF-9E19-065E392B5377}"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5"/>
              <c:layout/>
              <c:tx>
                <c:rich>
                  <a:bodyPr/>
                  <a:lstStyle/>
                  <a:p>
                    <a:fld id="{3CE403C6-A1C5-4B74-BD60-63BCDBF8347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6"/>
              <c:layout/>
              <c:tx>
                <c:rich>
                  <a:bodyPr/>
                  <a:lstStyle/>
                  <a:p>
                    <a:fld id="{8B89754A-71B5-42B8-91A6-6C2E59E9322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1A5390D6-269E-444E-9A8A-86BD500E1132}"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tx>
                <c:rich>
                  <a:bodyPr/>
                  <a:lstStyle/>
                  <a:p>
                    <a:fld id="{0C9C74D3-6BBF-47BE-82B6-5EE74F7A4748}"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9"/>
              <c:layout/>
              <c:tx>
                <c:rich>
                  <a:bodyPr/>
                  <a:lstStyle/>
                  <a:p>
                    <a:fld id="{D0A2C6A7-5A34-44DD-B814-8135A9CA5E1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0783C7DD-AE05-43AF-B5FE-7156C3E52380}"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tx>
                <c:rich>
                  <a:bodyPr/>
                  <a:lstStyle/>
                  <a:p>
                    <a:fld id="{EAE48905-F8F8-49BB-BB6B-1182C2C639CA}"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2"/>
              <c:layout>
                <c:manualLayout>
                  <c:x val="-2.6785880163613114E-2"/>
                  <c:y val="2.0263230533337801E-3"/>
                </c:manualLayout>
              </c:layout>
              <c:tx>
                <c:rich>
                  <a:bodyPr/>
                  <a:lstStyle/>
                  <a:p>
                    <a:fld id="{6CC3FC33-1762-482E-A960-B7553EABFC1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0AB6-4F04-8E31-ED01CCE57E79}"/>
                </c:ext>
                <c:ext xmlns:c15="http://schemas.microsoft.com/office/drawing/2012/chart" uri="{CE6537A1-D6FC-4f65-9D91-7224C49458BB}">
                  <c15:layout/>
                  <c15:dlblFieldTable/>
                  <c15:showDataLabelsRange val="1"/>
                </c:ext>
              </c:extLst>
            </c:dLbl>
            <c:dLbl>
              <c:idx val="23"/>
              <c:layout/>
              <c:tx>
                <c:rich>
                  <a:bodyPr/>
                  <a:lstStyle/>
                  <a:p>
                    <a:fld id="{676DEF2C-0553-4A83-9590-3F0424A64807}"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5BF3083B-53C9-47E1-9BA6-18399F2A6D1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tx>
                <c:rich>
                  <a:bodyPr/>
                  <a:lstStyle/>
                  <a:p>
                    <a:fld id="{4066879E-A2C4-4962-99C0-03BDA54280A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tx>
                <c:rich>
                  <a:bodyPr/>
                  <a:lstStyle/>
                  <a:p>
                    <a:fld id="{A0A2436A-E06F-4C35-BAE0-87EA423F87B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manualLayout>
                  <c:x val="-5.3530733193583049E-2"/>
                  <c:y val="8.1052922133351205E-3"/>
                </c:manualLayout>
              </c:layout>
              <c:tx>
                <c:rich>
                  <a:bodyPr/>
                  <a:lstStyle/>
                  <a:p>
                    <a:fld id="{54BBCB44-DCC4-4787-9BAC-46E3C2BE270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0-0AB6-4F04-8E31-ED01CCE57E79}"/>
                </c:ext>
                <c:ext xmlns:c15="http://schemas.microsoft.com/office/drawing/2012/chart" uri="{CE6537A1-D6FC-4f65-9D91-7224C49458BB}">
                  <c15:layout/>
                  <c15:dlblFieldTable/>
                  <c15:showDataLabelsRange val="1"/>
                </c:ext>
              </c:extLst>
            </c:dLbl>
            <c:dLbl>
              <c:idx val="28"/>
              <c:layout/>
              <c:tx>
                <c:rich>
                  <a:bodyPr/>
                  <a:lstStyle/>
                  <a:p>
                    <a:fld id="{9ED08051-E2FC-4B76-91AB-E3ED86806BC6}"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A9C888FD-4BC3-4E48-B5B9-D211C2CFDF03}"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DF3D0477-2D7D-4BAA-9646-EBB71C9793F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tx>
                <c:rich>
                  <a:bodyPr/>
                  <a:lstStyle/>
                  <a:p>
                    <a:fld id="{DAAEDA95-0721-4459-8BF8-6B9D6C94E5A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clip" horzOverflow="clip" vert="horz" wrap="square" lIns="36576" tIns="18288" rIns="36576" bIns="18288" anchor="ctr" anchorCtr="1">
                <a:spAutoFit/>
              </a:bodyPr>
              <a:lstStyle/>
              <a:p>
                <a:pPr>
                  <a:defRPr sz="800" b="0" i="0" u="none" strike="noStrike" kern="1200" baseline="0">
                    <a:solidFill>
                      <a:srgbClr val="BA1D85"/>
                    </a:solidFill>
                    <a:latin typeface="Gill Sans MT Std Medium"/>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15:layout/>
                <c15:showDataLabelsRange val="1"/>
                <c15:showLeaderLines val="0"/>
              </c:ext>
            </c:extLst>
          </c:dLbls>
          <c:xVal>
            <c:numRef>
              <c:f>'Income Bands &amp; Population chart'!$G$77:$G$108</c:f>
              <c:numCache>
                <c:formatCode>0.000</c:formatCode>
                <c:ptCount val="32"/>
                <c:pt idx="0">
                  <c:v>0.47748436032703839</c:v>
                </c:pt>
                <c:pt idx="1">
                  <c:v>0.45441484306529506</c:v>
                </c:pt>
                <c:pt idx="2">
                  <c:v>0.47261530772855687</c:v>
                </c:pt>
                <c:pt idx="3">
                  <c:v>0.36276833108397533</c:v>
                </c:pt>
                <c:pt idx="4">
                  <c:v>0.51791125600903987</c:v>
                </c:pt>
                <c:pt idx="5">
                  <c:v>0.49301931655439818</c:v>
                </c:pt>
                <c:pt idx="6">
                  <c:v>0.58932494663866752</c:v>
                </c:pt>
                <c:pt idx="7">
                  <c:v>0.54443163744813483</c:v>
                </c:pt>
                <c:pt idx="8">
                  <c:v>0.50922663656509737</c:v>
                </c:pt>
                <c:pt idx="9">
                  <c:v>0.54845049417624947</c:v>
                </c:pt>
                <c:pt idx="10">
                  <c:v>0.3577477165332375</c:v>
                </c:pt>
                <c:pt idx="11">
                  <c:v>0.55329726338049356</c:v>
                </c:pt>
                <c:pt idx="12">
                  <c:v>0.36264850416374639</c:v>
                </c:pt>
                <c:pt idx="13">
                  <c:v>0.47639579064256998</c:v>
                </c:pt>
                <c:pt idx="14">
                  <c:v>0.42302800623735937</c:v>
                </c:pt>
                <c:pt idx="15">
                  <c:v>0.51436497555904315</c:v>
                </c:pt>
                <c:pt idx="16">
                  <c:v>0.2905156819743086</c:v>
                </c:pt>
                <c:pt idx="17">
                  <c:v>0.64502014817331821</c:v>
                </c:pt>
                <c:pt idx="18">
                  <c:v>0.57677627500228101</c:v>
                </c:pt>
                <c:pt idx="19">
                  <c:v>0.5511889582077758</c:v>
                </c:pt>
                <c:pt idx="20">
                  <c:v>0.41598846366686426</c:v>
                </c:pt>
                <c:pt idx="21">
                  <c:v>0.51747164374723964</c:v>
                </c:pt>
                <c:pt idx="22">
                  <c:v>0.42255810373588931</c:v>
                </c:pt>
                <c:pt idx="23">
                  <c:v>0.44694003100713814</c:v>
                </c:pt>
                <c:pt idx="24">
                  <c:v>0.51261455639154274</c:v>
                </c:pt>
                <c:pt idx="25">
                  <c:v>0.50957966883363004</c:v>
                </c:pt>
                <c:pt idx="26">
                  <c:v>0.5332993564716404</c:v>
                </c:pt>
                <c:pt idx="27">
                  <c:v>0.52203101980227906</c:v>
                </c:pt>
                <c:pt idx="28">
                  <c:v>0.51437352411178228</c:v>
                </c:pt>
                <c:pt idx="29">
                  <c:v>0.48923718217445245</c:v>
                </c:pt>
                <c:pt idx="30">
                  <c:v>0.51890744450319581</c:v>
                </c:pt>
                <c:pt idx="31">
                  <c:v>0.48315842202106751</c:v>
                </c:pt>
              </c:numCache>
            </c:numRef>
          </c:xVal>
          <c:yVal>
            <c:numRef>
              <c:f>'Income Bands &amp; Population chart'!$H$77:$H$108</c:f>
              <c:numCache>
                <c:formatCode>0.000</c:formatCode>
                <c:ptCount val="32"/>
                <c:pt idx="0">
                  <c:v>0.58472266368148096</c:v>
                </c:pt>
                <c:pt idx="1">
                  <c:v>0.53851342048260664</c:v>
                </c:pt>
                <c:pt idx="2">
                  <c:v>0.55961293741100748</c:v>
                </c:pt>
                <c:pt idx="3">
                  <c:v>0.54001959350132589</c:v>
                </c:pt>
                <c:pt idx="4">
                  <c:v>0.40252849687597941</c:v>
                </c:pt>
                <c:pt idx="5">
                  <c:v>0.4398865266403435</c:v>
                </c:pt>
                <c:pt idx="6">
                  <c:v>0.61376271802036142</c:v>
                </c:pt>
                <c:pt idx="7">
                  <c:v>0.59644733482025047</c:v>
                </c:pt>
                <c:pt idx="8">
                  <c:v>0.48217173692476933</c:v>
                </c:pt>
                <c:pt idx="9">
                  <c:v>0.55890006487839738</c:v>
                </c:pt>
                <c:pt idx="10">
                  <c:v>0.46586829877368607</c:v>
                </c:pt>
                <c:pt idx="11">
                  <c:v>0.56610369206946476</c:v>
                </c:pt>
                <c:pt idx="12">
                  <c:v>0.40427009851895002</c:v>
                </c:pt>
                <c:pt idx="13">
                  <c:v>0.50951870722378712</c:v>
                </c:pt>
                <c:pt idx="14">
                  <c:v>0.56262713398653752</c:v>
                </c:pt>
                <c:pt idx="15">
                  <c:v>0.62921351135331527</c:v>
                </c:pt>
                <c:pt idx="16">
                  <c:v>0.47565686850999039</c:v>
                </c:pt>
                <c:pt idx="17">
                  <c:v>0.55453792752267395</c:v>
                </c:pt>
                <c:pt idx="18">
                  <c:v>0.57976845801867516</c:v>
                </c:pt>
                <c:pt idx="19">
                  <c:v>0.44464176082148676</c:v>
                </c:pt>
                <c:pt idx="20">
                  <c:v>0.59149449855909408</c:v>
                </c:pt>
                <c:pt idx="21">
                  <c:v>0.56292202897470867</c:v>
                </c:pt>
                <c:pt idx="22">
                  <c:v>0.37632463302494146</c:v>
                </c:pt>
                <c:pt idx="23">
                  <c:v>0.57705217316379498</c:v>
                </c:pt>
                <c:pt idx="24">
                  <c:v>0.4997225887325315</c:v>
                </c:pt>
                <c:pt idx="25">
                  <c:v>0.41412195865864054</c:v>
                </c:pt>
                <c:pt idx="26">
                  <c:v>0.67587613205253005</c:v>
                </c:pt>
                <c:pt idx="27">
                  <c:v>0.62376153305152504</c:v>
                </c:pt>
                <c:pt idx="28">
                  <c:v>0.63784018212079141</c:v>
                </c:pt>
                <c:pt idx="29">
                  <c:v>0.34866704131183668</c:v>
                </c:pt>
                <c:pt idx="30">
                  <c:v>0.58021796699039185</c:v>
                </c:pt>
                <c:pt idx="31">
                  <c:v>0.5116621694088459</c:v>
                </c:pt>
              </c:numCache>
            </c:numRef>
          </c:yVal>
          <c:smooth val="0"/>
          <c:extLst xmlns:c16r2="http://schemas.microsoft.com/office/drawing/2015/06/chart">
            <c:ext xmlns:c16="http://schemas.microsoft.com/office/drawing/2014/chart" uri="{C3380CC4-5D6E-409C-BE32-E72D297353CC}">
              <c16:uniqueId val="{00000045-0AB6-4F04-8E31-ED01CCE57E79}"/>
            </c:ext>
            <c:ext xmlns:c15="http://schemas.microsoft.com/office/drawing/2012/chart" uri="{02D57815-91ED-43cb-92C2-25804820EDAC}">
              <c15:datalabelsRange>
                <c15:f>'Income Bands &amp; Population chart'!$B$77:$B$108</c15:f>
                <c15:dlblRangeCache>
                  <c:ptCount val="32"/>
                  <c:pt idx="0">
                    <c:v>Albania</c:v>
                  </c:pt>
                  <c:pt idx="1">
                    <c:v>Argentina</c:v>
                  </c:pt>
                  <c:pt idx="2">
                    <c:v>Armenia</c:v>
                  </c:pt>
                  <c:pt idx="3">
                    <c:v>Bosnia and Herzegovina</c:v>
                  </c:pt>
                  <c:pt idx="4">
                    <c:v>Botswana</c:v>
                  </c:pt>
                  <c:pt idx="5">
                    <c:v>Brazil</c:v>
                  </c:pt>
                  <c:pt idx="6">
                    <c:v>Bulgaria</c:v>
                  </c:pt>
                  <c:pt idx="7">
                    <c:v>China</c:v>
                  </c:pt>
                  <c:pt idx="8">
                    <c:v>Colombia</c:v>
                  </c:pt>
                  <c:pt idx="9">
                    <c:v>Costa Rica</c:v>
                  </c:pt>
                  <c:pt idx="10">
                    <c:v>Ecuador</c:v>
                  </c:pt>
                  <c:pt idx="11">
                    <c:v>Georgia</c:v>
                  </c:pt>
                  <c:pt idx="12">
                    <c:v>Guatemala</c:v>
                  </c:pt>
                  <c:pt idx="13">
                    <c:v>Jamaica</c:v>
                  </c:pt>
                  <c:pt idx="14">
                    <c:v>Jordan</c:v>
                  </c:pt>
                  <c:pt idx="15">
                    <c:v>Kazakhstan</c:v>
                  </c:pt>
                  <c:pt idx="16">
                    <c:v>Lebanon</c:v>
                  </c:pt>
                  <c:pt idx="17">
                    <c:v>Malaysia</c:v>
                  </c:pt>
                  <c:pt idx="18">
                    <c:v>Mauritius</c:v>
                  </c:pt>
                  <c:pt idx="19">
                    <c:v>Mexico</c:v>
                  </c:pt>
                  <c:pt idx="20">
                    <c:v>Moldova</c:v>
                  </c:pt>
                  <c:pt idx="21">
                    <c:v>Montenegro</c:v>
                  </c:pt>
                  <c:pt idx="22">
                    <c:v>Namibia</c:v>
                  </c:pt>
                  <c:pt idx="23">
                    <c:v>North Macedonia</c:v>
                  </c:pt>
                  <c:pt idx="24">
                    <c:v>Panama</c:v>
                  </c:pt>
                  <c:pt idx="25">
                    <c:v>Peru</c:v>
                  </c:pt>
                  <c:pt idx="26">
                    <c:v>Romania</c:v>
                  </c:pt>
                  <c:pt idx="27">
                    <c:v>Russian Federation</c:v>
                  </c:pt>
                  <c:pt idx="28">
                    <c:v>Serbia</c:v>
                  </c:pt>
                  <c:pt idx="29">
                    <c:v>South Africa</c:v>
                  </c:pt>
                  <c:pt idx="30">
                    <c:v>Thailand</c:v>
                  </c:pt>
                  <c:pt idx="31">
                    <c:v>Turkey</c:v>
                  </c:pt>
                </c15:dlblRangeCache>
              </c15:datalabelsRange>
            </c:ext>
          </c:extLst>
        </c:ser>
        <c:ser>
          <c:idx val="3"/>
          <c:order val="2"/>
          <c:tx>
            <c:v>Lower-middle income</c:v>
          </c:tx>
          <c:spPr>
            <a:ln w="25400" cap="rnd">
              <a:noFill/>
              <a:round/>
            </a:ln>
            <a:effectLst/>
          </c:spPr>
          <c:marker>
            <c:symbol val="circle"/>
            <c:size val="5"/>
            <c:spPr>
              <a:noFill/>
              <a:ln w="9525">
                <a:noFill/>
              </a:ln>
              <a:effectLst/>
            </c:spPr>
          </c:marker>
          <c:dLbls>
            <c:dLbl>
              <c:idx val="0"/>
              <c:layout/>
              <c:tx>
                <c:rich>
                  <a:bodyPr/>
                  <a:lstStyle/>
                  <a:p>
                    <a:fld id="{E77CCCB1-D5E2-4A53-80CB-7523C6807A9E}"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
              <c:layout/>
              <c:tx>
                <c:rich>
                  <a:bodyPr/>
                  <a:lstStyle/>
                  <a:p>
                    <a:fld id="{CA784BD3-1E79-42A8-9441-268CC8C58CC0}"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
              <c:layout>
                <c:manualLayout>
                  <c:x val="-4.7631341014438458E-2"/>
                  <c:y val="-6.0789691600014887E-3"/>
                </c:manualLayout>
              </c:layout>
              <c:tx>
                <c:rich>
                  <a:bodyPr/>
                  <a:lstStyle/>
                  <a:p>
                    <a:fld id="{D0597DA9-B6BC-4A8D-9466-50B52070BC0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8-0AB6-4F04-8E31-ED01CCE57E79}"/>
                </c:ext>
                <c:ext xmlns:c15="http://schemas.microsoft.com/office/drawing/2012/chart" uri="{CE6537A1-D6FC-4f65-9D91-7224C49458BB}">
                  <c15:layout/>
                  <c15:dlblFieldTable/>
                  <c15:showDataLabelsRange val="1"/>
                </c:ext>
              </c:extLst>
            </c:dLbl>
            <c:dLbl>
              <c:idx val="3"/>
              <c:layout>
                <c:manualLayout>
                  <c:x val="-4.6079857380394294E-2"/>
                  <c:y val="-2.0263230533338543E-3"/>
                </c:manualLayout>
              </c:layout>
              <c:tx>
                <c:rich>
                  <a:bodyPr/>
                  <a:lstStyle/>
                  <a:p>
                    <a:fld id="{56C91735-4417-4735-939E-829ACC007FF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9-0AB6-4F04-8E31-ED01CCE57E79}"/>
                </c:ext>
                <c:ext xmlns:c15="http://schemas.microsoft.com/office/drawing/2012/chart" uri="{CE6537A1-D6FC-4f65-9D91-7224C49458BB}">
                  <c15:layout/>
                  <c15:dlblFieldTable/>
                  <c15:showDataLabelsRange val="1"/>
                </c:ext>
              </c:extLst>
            </c:dLbl>
            <c:dLbl>
              <c:idx val="4"/>
              <c:layout/>
              <c:tx>
                <c:rich>
                  <a:bodyPr/>
                  <a:lstStyle/>
                  <a:p>
                    <a:fld id="{A38CB137-555F-4FEE-BF2B-B13C8F99DA5B}"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manualLayout>
                  <c:x val="-3.1035381645234505E-2"/>
                  <c:y val="4.0526461066675602E-3"/>
                </c:manualLayout>
              </c:layout>
              <c:tx>
                <c:rich>
                  <a:bodyPr/>
                  <a:lstStyle/>
                  <a:p>
                    <a:fld id="{6B59338B-6F9A-4EA8-A6E0-D0071A27C00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B-0AB6-4F04-8E31-ED01CCE57E79}"/>
                </c:ext>
                <c:ext xmlns:c15="http://schemas.microsoft.com/office/drawing/2012/chart" uri="{CE6537A1-D6FC-4f65-9D91-7224C49458BB}">
                  <c15:layout/>
                  <c15:dlblFieldTable/>
                  <c15:showDataLabelsRange val="1"/>
                </c:ext>
              </c:extLst>
            </c:dLbl>
            <c:dLbl>
              <c:idx val="6"/>
              <c:layout>
                <c:manualLayout>
                  <c:x val="-2.0341039983651166E-2"/>
                  <c:y val="0"/>
                </c:manualLayout>
              </c:layout>
              <c:tx>
                <c:rich>
                  <a:bodyPr/>
                  <a:lstStyle/>
                  <a:p>
                    <a:fld id="{F8035026-3CE4-438A-8B95-F67DCF8653C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C-0AB6-4F04-8E31-ED01CCE57E79}"/>
                </c:ext>
                <c:ext xmlns:c15="http://schemas.microsoft.com/office/drawing/2012/chart" uri="{CE6537A1-D6FC-4f65-9D91-7224C49458BB}">
                  <c15:layout/>
                  <c15:dlblFieldTable/>
                  <c15:showDataLabelsRange val="1"/>
                </c:ext>
              </c:extLst>
            </c:dLbl>
            <c:dLbl>
              <c:idx val="7"/>
              <c:layout/>
              <c:tx>
                <c:rich>
                  <a:bodyPr/>
                  <a:lstStyle/>
                  <a:p>
                    <a:fld id="{244033F4-219B-41AC-842B-54EB0A3F81C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
              <c:layout>
                <c:manualLayout>
                  <c:x val="-4.8758813092764669E-2"/>
                  <c:y val="4.0526461066674856E-3"/>
                </c:manualLayout>
              </c:layout>
              <c:tx>
                <c:rich>
                  <a:bodyPr/>
                  <a:lstStyle/>
                  <a:p>
                    <a:fld id="{A58D6324-F872-48CD-85F0-9D9C6E60858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E-0AB6-4F04-8E31-ED01CCE57E79}"/>
                </c:ext>
                <c:ext xmlns:c15="http://schemas.microsoft.com/office/drawing/2012/chart" uri="{CE6537A1-D6FC-4f65-9D91-7224C49458BB}">
                  <c15:layout/>
                  <c15:dlblFieldTable/>
                  <c15:showDataLabelsRange val="1"/>
                </c:ext>
              </c:extLst>
            </c:dLbl>
            <c:dLbl>
              <c:idx val="9"/>
              <c:layout>
                <c:manualLayout>
                  <c:x val="-2.4129082973894357E-2"/>
                  <c:y val="4.0526461066675602E-3"/>
                </c:manualLayout>
              </c:layout>
              <c:tx>
                <c:rich>
                  <a:bodyPr/>
                  <a:lstStyle/>
                  <a:p>
                    <a:fld id="{550F7F20-5B3A-43C0-B069-5D169E550D9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4F-0AB6-4F04-8E31-ED01CCE57E79}"/>
                </c:ext>
                <c:ext xmlns:c15="http://schemas.microsoft.com/office/drawing/2012/chart" uri="{CE6537A1-D6FC-4f65-9D91-7224C49458BB}">
                  <c15:layout/>
                  <c15:dlblFieldTable/>
                  <c15:showDataLabelsRange val="1"/>
                </c:ext>
              </c:extLst>
            </c:dLbl>
            <c:dLbl>
              <c:idx val="10"/>
              <c:layout>
                <c:manualLayout>
                  <c:x val="-4.8129085296184898E-2"/>
                  <c:y val="-8.1052922133352696E-3"/>
                </c:manualLayout>
              </c:layout>
              <c:tx>
                <c:rich>
                  <a:bodyPr/>
                  <a:lstStyle/>
                  <a:p>
                    <a:fld id="{91BE214F-1C56-40A0-90C2-6AAFC11543C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0-0AB6-4F04-8E31-ED01CCE57E79}"/>
                </c:ext>
                <c:ext xmlns:c15="http://schemas.microsoft.com/office/drawing/2012/chart" uri="{CE6537A1-D6FC-4f65-9D91-7224C49458BB}">
                  <c15:layout/>
                  <c15:dlblFieldTable/>
                  <c15:showDataLabelsRange val="1"/>
                </c:ext>
              </c:extLst>
            </c:dLbl>
            <c:dLbl>
              <c:idx val="11"/>
              <c:layout>
                <c:manualLayout>
                  <c:x val="-1.5723552206640512E-2"/>
                  <c:y val="-4.0526461066675602E-3"/>
                </c:manualLayout>
              </c:layout>
              <c:tx>
                <c:rich>
                  <a:bodyPr/>
                  <a:lstStyle/>
                  <a:p>
                    <a:fld id="{37A31070-EA60-4251-AFC4-F946D80152C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1-0AB6-4F04-8E31-ED01CCE57E79}"/>
                </c:ext>
                <c:ext xmlns:c15="http://schemas.microsoft.com/office/drawing/2012/chart" uri="{CE6537A1-D6FC-4f65-9D91-7224C49458BB}">
                  <c15:layout/>
                  <c15:dlblFieldTable/>
                  <c15:showDataLabelsRange val="1"/>
                </c:ext>
              </c:extLst>
            </c:dLbl>
            <c:dLbl>
              <c:idx val="12"/>
              <c:layout>
                <c:manualLayout>
                  <c:x val="-3.0525348575816593E-2"/>
                  <c:y val="6.0789691600012657E-3"/>
                </c:manualLayout>
              </c:layout>
              <c:tx>
                <c:rich>
                  <a:bodyPr/>
                  <a:lstStyle/>
                  <a:p>
                    <a:fld id="{4384B4B7-1737-4FCC-AA63-32C3912BBCE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2-0AB6-4F04-8E31-ED01CCE57E79}"/>
                </c:ext>
                <c:ext xmlns:c15="http://schemas.microsoft.com/office/drawing/2012/chart" uri="{CE6537A1-D6FC-4f65-9D91-7224C49458BB}">
                  <c15:layout/>
                  <c15:dlblFieldTable/>
                  <c15:showDataLabelsRange val="1"/>
                </c:ext>
              </c:extLst>
            </c:dLbl>
            <c:dLbl>
              <c:idx val="13"/>
              <c:layout>
                <c:manualLayout>
                  <c:x val="-2.3591375941688787E-2"/>
                  <c:y val="6.0789691600013403E-3"/>
                </c:manualLayout>
              </c:layout>
              <c:tx>
                <c:rich>
                  <a:bodyPr/>
                  <a:lstStyle/>
                  <a:p>
                    <a:fld id="{10F9E88C-742E-4C34-AD83-312BFD2F6EA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3-0AB6-4F04-8E31-ED01CCE57E79}"/>
                </c:ext>
                <c:ext xmlns:c15="http://schemas.microsoft.com/office/drawing/2012/chart" uri="{CE6537A1-D6FC-4f65-9D91-7224C49458BB}">
                  <c15:layout/>
                  <c15:dlblFieldTable/>
                  <c15:showDataLabelsRange val="1"/>
                </c:ext>
              </c:extLst>
            </c:dLbl>
            <c:dLbl>
              <c:idx val="14"/>
              <c:layout>
                <c:manualLayout>
                  <c:x val="-3.3004587297999377E-2"/>
                  <c:y val="6.0789691600013403E-3"/>
                </c:manualLayout>
              </c:layout>
              <c:tx>
                <c:rich>
                  <a:bodyPr/>
                  <a:lstStyle/>
                  <a:p>
                    <a:fld id="{78A9A2AB-5B4F-4EF2-A31A-67EA1E44AA0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4-0AB6-4F04-8E31-ED01CCE57E79}"/>
                </c:ext>
                <c:ext xmlns:c15="http://schemas.microsoft.com/office/drawing/2012/chart" uri="{CE6537A1-D6FC-4f65-9D91-7224C49458BB}">
                  <c15:layout/>
                  <c15:dlblFieldTable/>
                  <c15:showDataLabelsRange val="1"/>
                </c:ext>
              </c:extLst>
            </c:dLbl>
            <c:dLbl>
              <c:idx val="15"/>
              <c:layout/>
              <c:tx>
                <c:rich>
                  <a:bodyPr/>
                  <a:lstStyle/>
                  <a:p>
                    <a:fld id="{34D4C2FE-AA60-49B0-8813-42DD78974483}"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6"/>
              <c:layout/>
              <c:tx>
                <c:rich>
                  <a:bodyPr/>
                  <a:lstStyle/>
                  <a:p>
                    <a:fld id="{9B08B152-2800-470D-9134-A1C535AA3A0C}"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manualLayout>
                  <c:x val="-3.4918638549404413E-2"/>
                  <c:y val="-2.0263230533337801E-3"/>
                </c:manualLayout>
              </c:layout>
              <c:tx>
                <c:rich>
                  <a:bodyPr/>
                  <a:lstStyle/>
                  <a:p>
                    <a:fld id="{D1A6445A-CA4A-4C3A-BC8F-563FAC8B4577}" type="CELLRANGE">
                      <a:rPr lang="en-US" dirty="0"/>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7-0AB6-4F04-8E31-ED01CCE57E79}"/>
                </c:ext>
                <c:ext xmlns:c15="http://schemas.microsoft.com/office/drawing/2012/chart" uri="{CE6537A1-D6FC-4f65-9D91-7224C49458BB}">
                  <c15:layout/>
                  <c15:dlblFieldTable/>
                  <c15:showDataLabelsRange val="1"/>
                </c:ext>
              </c:extLst>
            </c:dLbl>
            <c:dLbl>
              <c:idx val="18"/>
              <c:layout>
                <c:manualLayout>
                  <c:x val="-2.6688150434887706E-2"/>
                  <c:y val="8.1052922133351205E-3"/>
                </c:manualLayout>
              </c:layout>
              <c:tx>
                <c:rich>
                  <a:bodyPr/>
                  <a:lstStyle/>
                  <a:p>
                    <a:fld id="{D5B910CA-1513-4869-8214-10D64311009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8-0AB6-4F04-8E31-ED01CCE57E79}"/>
                </c:ext>
                <c:ext xmlns:c15="http://schemas.microsoft.com/office/drawing/2012/chart" uri="{CE6537A1-D6FC-4f65-9D91-7224C49458BB}">
                  <c15:layout/>
                  <c15:dlblFieldTable/>
                  <c15:showDataLabelsRange val="1"/>
                </c:ext>
              </c:extLst>
            </c:dLbl>
            <c:dLbl>
              <c:idx val="19"/>
              <c:layout>
                <c:manualLayout>
                  <c:x val="-9.5852543837105248E-3"/>
                  <c:y val="4.0526461066674856E-3"/>
                </c:manualLayout>
              </c:layout>
              <c:tx>
                <c:rich>
                  <a:bodyPr/>
                  <a:lstStyle/>
                  <a:p>
                    <a:fld id="{BF758E20-55D5-4FCC-98AC-2A1E8475834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9-0AB6-4F04-8E31-ED01CCE57E79}"/>
                </c:ext>
                <c:ext xmlns:c15="http://schemas.microsoft.com/office/drawing/2012/chart" uri="{CE6537A1-D6FC-4f65-9D91-7224C49458BB}">
                  <c15:layout/>
                  <c15:dlblFieldTable/>
                  <c15:showDataLabelsRange val="1"/>
                </c:ext>
              </c:extLst>
            </c:dLbl>
            <c:dLbl>
              <c:idx val="20"/>
              <c:layout>
                <c:manualLayout>
                  <c:x val="-3.1732746155060935E-2"/>
                  <c:y val="4.0526461066675602E-3"/>
                </c:manualLayout>
              </c:layout>
              <c:tx>
                <c:rich>
                  <a:bodyPr/>
                  <a:lstStyle/>
                  <a:p>
                    <a:fld id="{71CC416E-C316-4DCA-8D65-5DE93CEE679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A-0AB6-4F04-8E31-ED01CCE57E79}"/>
                </c:ext>
                <c:ext xmlns:c15="http://schemas.microsoft.com/office/drawing/2012/chart" uri="{CE6537A1-D6FC-4f65-9D91-7224C49458BB}">
                  <c15:layout/>
                  <c15:dlblFieldTable/>
                  <c15:showDataLabelsRange val="1"/>
                </c:ext>
              </c:extLst>
            </c:dLbl>
            <c:dLbl>
              <c:idx val="21"/>
              <c:layout>
                <c:manualLayout>
                  <c:x val="-3.0350209160971895E-2"/>
                  <c:y val="-2.0263230533339289E-3"/>
                </c:manualLayout>
              </c:layout>
              <c:tx>
                <c:rich>
                  <a:bodyPr/>
                  <a:lstStyle/>
                  <a:p>
                    <a:fld id="{680795B0-8CFE-4762-B2F3-D2481034F0C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B-0AB6-4F04-8E31-ED01CCE57E79}"/>
                </c:ext>
                <c:ext xmlns:c15="http://schemas.microsoft.com/office/drawing/2012/chart" uri="{CE6537A1-D6FC-4f65-9D91-7224C49458BB}">
                  <c15:layout/>
                  <c15:dlblFieldTable/>
                  <c15:showDataLabelsRange val="1"/>
                </c:ext>
              </c:extLst>
            </c:dLbl>
            <c:dLbl>
              <c:idx val="22"/>
              <c:layout>
                <c:manualLayout>
                  <c:x val="-1.7698950634294969E-2"/>
                  <c:y val="0"/>
                </c:manualLayout>
              </c:layout>
              <c:tx>
                <c:rich>
                  <a:bodyPr/>
                  <a:lstStyle/>
                  <a:p>
                    <a:fld id="{310CE8D8-1051-4FF9-AFA1-11576FF03FB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5C-0AB6-4F04-8E31-ED01CCE57E79}"/>
                </c:ext>
                <c:ext xmlns:c15="http://schemas.microsoft.com/office/drawing/2012/chart" uri="{CE6537A1-D6FC-4f65-9D91-7224C49458BB}">
                  <c15:layout/>
                  <c15:dlblFieldTable/>
                  <c15:showDataLabelsRange val="1"/>
                </c:ext>
              </c:extLst>
            </c:dLbl>
            <c:dLbl>
              <c:idx val="23"/>
              <c:layout/>
              <c:tx>
                <c:rich>
                  <a:bodyPr/>
                  <a:lstStyle/>
                  <a:p>
                    <a:fld id="{A056E5B7-7A38-47F5-AD25-DCE5BA31D997}"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EDB929CA-93B0-45BF-8812-A6F929ED429E}"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tx>
                <c:rich>
                  <a:bodyPr/>
                  <a:lstStyle/>
                  <a:p>
                    <a:fld id="{C9F0AFBD-F3A5-4C6B-8BDB-33964B9AF078}"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tx>
                <c:rich>
                  <a:bodyPr/>
                  <a:lstStyle/>
                  <a:p>
                    <a:fld id="{FC35A288-883A-4E62-ACE8-CBB340EA8223}"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5D64B72F-2CD6-41B2-ACE7-4BB7F2CB727F}"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800" b="0" i="0" u="none" strike="noStrike" kern="1200" baseline="0">
                    <a:solidFill>
                      <a:srgbClr val="238D43"/>
                    </a:solidFill>
                    <a:latin typeface="Gill Sans MT Std Medium"/>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xVal>
            <c:numRef>
              <c:f>'Income Bands &amp; Population chart'!$G$49:$G$76</c:f>
              <c:numCache>
                <c:formatCode>0.000</c:formatCode>
                <c:ptCount val="28"/>
                <c:pt idx="0">
                  <c:v>0.33084221399519492</c:v>
                </c:pt>
                <c:pt idx="1">
                  <c:v>0.33275765048428446</c:v>
                </c:pt>
                <c:pt idx="2">
                  <c:v>0.41825237488894768</c:v>
                </c:pt>
                <c:pt idx="3">
                  <c:v>0.38850960466207485</c:v>
                </c:pt>
                <c:pt idx="4">
                  <c:v>0.42685396702577483</c:v>
                </c:pt>
                <c:pt idx="5">
                  <c:v>0.41262006790597261</c:v>
                </c:pt>
                <c:pt idx="6">
                  <c:v>0.54498116526618123</c:v>
                </c:pt>
                <c:pt idx="7">
                  <c:v>0.54765935059009596</c:v>
                </c:pt>
                <c:pt idx="8">
                  <c:v>0.26064504248036346</c:v>
                </c:pt>
                <c:pt idx="9">
                  <c:v>0.41055493442485719</c:v>
                </c:pt>
                <c:pt idx="10">
                  <c:v>0.38174781632682175</c:v>
                </c:pt>
                <c:pt idx="11">
                  <c:v>0.39696511948422997</c:v>
                </c:pt>
                <c:pt idx="12">
                  <c:v>0.48668639174437955</c:v>
                </c:pt>
                <c:pt idx="13">
                  <c:v>0.30559285593140434</c:v>
                </c:pt>
                <c:pt idx="14">
                  <c:v>0.3589780595850201</c:v>
                </c:pt>
                <c:pt idx="15">
                  <c:v>0.30773946595359519</c:v>
                </c:pt>
                <c:pt idx="16">
                  <c:v>0.34943390416243714</c:v>
                </c:pt>
                <c:pt idx="17">
                  <c:v>0.49052057181159309</c:v>
                </c:pt>
                <c:pt idx="18">
                  <c:v>0.44011334938161129</c:v>
                </c:pt>
                <c:pt idx="19">
                  <c:v>0.37652531048804661</c:v>
                </c:pt>
                <c:pt idx="20">
                  <c:v>0.36113395931216213</c:v>
                </c:pt>
                <c:pt idx="21">
                  <c:v>0.39370674729061289</c:v>
                </c:pt>
                <c:pt idx="22">
                  <c:v>0.40037228959155419</c:v>
                </c:pt>
                <c:pt idx="23">
                  <c:v>0.44025334328160526</c:v>
                </c:pt>
                <c:pt idx="24">
                  <c:v>8.6950563919238583E-2</c:v>
                </c:pt>
                <c:pt idx="25">
                  <c:v>0.46418838604506829</c:v>
                </c:pt>
                <c:pt idx="26">
                  <c:v>0.34083817581025416</c:v>
                </c:pt>
                <c:pt idx="27">
                  <c:v>0.26372340269566819</c:v>
                </c:pt>
              </c:numCache>
            </c:numRef>
          </c:xVal>
          <c:yVal>
            <c:numRef>
              <c:f>'Income Bands &amp; Population chart'!$H$49:$H$76</c:f>
              <c:numCache>
                <c:formatCode>0.000</c:formatCode>
                <c:ptCount val="28"/>
                <c:pt idx="0">
                  <c:v>0.50488515799036104</c:v>
                </c:pt>
                <c:pt idx="1">
                  <c:v>0.44652478857311695</c:v>
                </c:pt>
                <c:pt idx="2">
                  <c:v>0.41909638514078962</c:v>
                </c:pt>
                <c:pt idx="3">
                  <c:v>0.49053199922469304</c:v>
                </c:pt>
                <c:pt idx="4">
                  <c:v>0.39078961292817316</c:v>
                </c:pt>
                <c:pt idx="5">
                  <c:v>0.41748482480316645</c:v>
                </c:pt>
                <c:pt idx="6">
                  <c:v>0.39972105905122851</c:v>
                </c:pt>
                <c:pt idx="7">
                  <c:v>0.46030910124271796</c:v>
                </c:pt>
                <c:pt idx="8">
                  <c:v>0.46936889782230268</c:v>
                </c:pt>
                <c:pt idx="9">
                  <c:v>0.37024580682160146</c:v>
                </c:pt>
                <c:pt idx="10">
                  <c:v>0.47611733327143785</c:v>
                </c:pt>
                <c:pt idx="11">
                  <c:v>0.48062905790386257</c:v>
                </c:pt>
                <c:pt idx="12">
                  <c:v>0.46298318179892806</c:v>
                </c:pt>
                <c:pt idx="13">
                  <c:v>0.44581643871851473</c:v>
                </c:pt>
                <c:pt idx="14">
                  <c:v>0.44394497465152605</c:v>
                </c:pt>
                <c:pt idx="15">
                  <c:v>0.23198010967444618</c:v>
                </c:pt>
                <c:pt idx="16">
                  <c:v>0.31319966609353878</c:v>
                </c:pt>
                <c:pt idx="17">
                  <c:v>0.46486418376420624</c:v>
                </c:pt>
                <c:pt idx="18">
                  <c:v>0.41328896020459926</c:v>
                </c:pt>
                <c:pt idx="19">
                  <c:v>0.47659521732465993</c:v>
                </c:pt>
                <c:pt idx="20">
                  <c:v>0.45933909771999726</c:v>
                </c:pt>
                <c:pt idx="21">
                  <c:v>0.38122413814666634</c:v>
                </c:pt>
                <c:pt idx="22">
                  <c:v>0.49647183115807969</c:v>
                </c:pt>
                <c:pt idx="23">
                  <c:v>0.62795393011296818</c:v>
                </c:pt>
                <c:pt idx="24">
                  <c:v>0.39355341243425657</c:v>
                </c:pt>
                <c:pt idx="25">
                  <c:v>0.59414079330337211</c:v>
                </c:pt>
                <c:pt idx="26">
                  <c:v>0.3039954256958885</c:v>
                </c:pt>
                <c:pt idx="27">
                  <c:v>0.27138763494688833</c:v>
                </c:pt>
              </c:numCache>
            </c:numRef>
          </c:yVal>
          <c:smooth val="0"/>
          <c:extLst xmlns:c16r2="http://schemas.microsoft.com/office/drawing/2015/06/chart">
            <c:ext xmlns:c16="http://schemas.microsoft.com/office/drawing/2014/chart" uri="{C3380CC4-5D6E-409C-BE32-E72D297353CC}">
              <c16:uniqueId val="{00000062-0AB6-4F04-8E31-ED01CCE57E79}"/>
            </c:ext>
            <c:ext xmlns:c15="http://schemas.microsoft.com/office/drawing/2012/chart" uri="{02D57815-91ED-43cb-92C2-25804820EDAC}">
              <c15:datalabelsRange>
                <c15:f>'Income Bands &amp; Population chart'!$B$49:$B$76</c15:f>
                <c15:dlblRangeCache>
                  <c:ptCount val="28"/>
                  <c:pt idx="0">
                    <c:v>Algeria</c:v>
                  </c:pt>
                  <c:pt idx="1">
                    <c:v>Cambodia</c:v>
                  </c:pt>
                  <c:pt idx="2">
                    <c:v>Egypt, Arab Rep.</c:v>
                  </c:pt>
                  <c:pt idx="3">
                    <c:v>El Salvador</c:v>
                  </c:pt>
                  <c:pt idx="4">
                    <c:v>Ghana</c:v>
                  </c:pt>
                  <c:pt idx="5">
                    <c:v>Honduras</c:v>
                  </c:pt>
                  <c:pt idx="6">
                    <c:v>India</c:v>
                  </c:pt>
                  <c:pt idx="7">
                    <c:v>Indonesia</c:v>
                  </c:pt>
                  <c:pt idx="8">
                    <c:v>Iran, Islamic Rep.</c:v>
                  </c:pt>
                  <c:pt idx="9">
                    <c:v>Kenya</c:v>
                  </c:pt>
                  <c:pt idx="10">
                    <c:v>Kyrgyzstan</c:v>
                  </c:pt>
                  <c:pt idx="11">
                    <c:v>Mongolia</c:v>
                  </c:pt>
                  <c:pt idx="12">
                    <c:v>Morocco</c:v>
                  </c:pt>
                  <c:pt idx="13">
                    <c:v>Nepal</c:v>
                  </c:pt>
                  <c:pt idx="14">
                    <c:v>Nicaragua</c:v>
                  </c:pt>
                  <c:pt idx="15">
                    <c:v>Nigeria</c:v>
                  </c:pt>
                  <c:pt idx="16">
                    <c:v>Pakistan</c:v>
                  </c:pt>
                  <c:pt idx="17">
                    <c:v>Philippines</c:v>
                  </c:pt>
                  <c:pt idx="18">
                    <c:v>Senegal</c:v>
                  </c:pt>
                  <c:pt idx="19">
                    <c:v>Sri Lanka</c:v>
                  </c:pt>
                  <c:pt idx="20">
                    <c:v>Tajikistan</c:v>
                  </c:pt>
                  <c:pt idx="21">
                    <c:v>Tanzania</c:v>
                  </c:pt>
                  <c:pt idx="22">
                    <c:v>Tunisia</c:v>
                  </c:pt>
                  <c:pt idx="23">
                    <c:v>Ukraine</c:v>
                  </c:pt>
                  <c:pt idx="24">
                    <c:v>Venezuela</c:v>
                  </c:pt>
                  <c:pt idx="25">
                    <c:v>Vietnam</c:v>
                  </c:pt>
                  <c:pt idx="26">
                    <c:v>Zambia</c:v>
                  </c:pt>
                  <c:pt idx="27">
                    <c:v>Zimbabwe</c:v>
                  </c:pt>
                </c15:dlblRangeCache>
              </c15:datalabelsRange>
            </c:ext>
          </c:extLst>
        </c:ser>
        <c:ser>
          <c:idx val="4"/>
          <c:order val="3"/>
          <c:tx>
            <c:v>Low Income</c:v>
          </c:tx>
          <c:spPr>
            <a:ln w="25400" cap="rnd">
              <a:noFill/>
              <a:round/>
            </a:ln>
            <a:effectLst/>
          </c:spPr>
          <c:marker>
            <c:symbol val="circle"/>
            <c:size val="5"/>
            <c:spPr>
              <a:noFill/>
              <a:ln w="9525">
                <a:noFill/>
              </a:ln>
              <a:effectLst/>
            </c:spPr>
          </c:marker>
          <c:dLbls>
            <c:dLbl>
              <c:idx val="0"/>
              <c:layout/>
              <c:tx>
                <c:rich>
                  <a:bodyPr/>
                  <a:lstStyle/>
                  <a:p>
                    <a:fld id="{3B2514D7-8FA5-4FE8-9692-9D1E255EF35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
              <c:layout>
                <c:manualLayout>
                  <c:x val="-2.8912421003415314E-2"/>
                  <c:y val="4.0526461066675602E-3"/>
                </c:manualLayout>
              </c:layout>
              <c:tx>
                <c:rich>
                  <a:bodyPr/>
                  <a:lstStyle/>
                  <a:p>
                    <a:fld id="{DA4B543B-1289-4843-884E-29612D448E4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64-0AB6-4F04-8E31-ED01CCE57E79}"/>
                </c:ext>
                <c:ext xmlns:c15="http://schemas.microsoft.com/office/drawing/2012/chart" uri="{CE6537A1-D6FC-4f65-9D91-7224C49458BB}">
                  <c15:layout/>
                  <c15:dlblFieldTable/>
                  <c15:showDataLabelsRange val="1"/>
                </c:ext>
              </c:extLst>
            </c:dLbl>
            <c:dLbl>
              <c:idx val="2"/>
              <c:layout/>
              <c:tx>
                <c:rich>
                  <a:bodyPr/>
                  <a:lstStyle/>
                  <a:p>
                    <a:fld id="{AB7DFB20-4A3B-483C-94CA-D01E6CE88A67}"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9B6555F8-7C74-487C-83C4-9592EF39A969}"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5F89A10E-986F-4B2A-A598-3C812B1ADDE5}"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5AC0AB20-2038-48C7-B8EB-D95AE44A17D1}"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8D6246B5-875C-45A9-AE55-D9CA7450319D}"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tx>
                <c:rich>
                  <a:bodyPr/>
                  <a:lstStyle/>
                  <a:p>
                    <a:fld id="{5DBFB15D-5EA5-4FE9-8DBF-77B90291AD18}" type="CELLRANGE">
                      <a:rPr lang="fr-FR"/>
                      <a:pPr/>
                      <a:t>[CELLRANGE]</a:t>
                    </a:fld>
                    <a:endParaRPr lang="fr-FR"/>
                  </a:p>
                </c:rich>
              </c:tx>
              <c:dLblPos val="ctr"/>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800" b="0" i="0" u="none" strike="noStrike" kern="1200" baseline="0">
                    <a:solidFill>
                      <a:srgbClr val="EF8E23"/>
                    </a:solidFill>
                    <a:latin typeface="Gill Sans MT Std Medium"/>
                    <a:ea typeface="+mn-ea"/>
                    <a:cs typeface="+mn-cs"/>
                  </a:defRPr>
                </a:pPr>
                <a:endParaRPr lang="fr-FR"/>
              </a:p>
            </c:txPr>
            <c:dLblPos val="ct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xVal>
            <c:numRef>
              <c:f>'Income Bands &amp; Population chart'!$G$41:$G$48</c:f>
              <c:numCache>
                <c:formatCode>0.000</c:formatCode>
                <c:ptCount val="8"/>
                <c:pt idx="0">
                  <c:v>0.32942505144275819</c:v>
                </c:pt>
                <c:pt idx="1">
                  <c:v>0.34739272728043047</c:v>
                </c:pt>
                <c:pt idx="2">
                  <c:v>0.32324284843613749</c:v>
                </c:pt>
                <c:pt idx="3">
                  <c:v>0.34313886977408548</c:v>
                </c:pt>
                <c:pt idx="4">
                  <c:v>0.32753754812973751</c:v>
                </c:pt>
                <c:pt idx="5">
                  <c:v>0.3114935878854736</c:v>
                </c:pt>
                <c:pt idx="6">
                  <c:v>0.51964602545021465</c:v>
                </c:pt>
                <c:pt idx="7">
                  <c:v>0.41126123476728371</c:v>
                </c:pt>
              </c:numCache>
            </c:numRef>
          </c:xVal>
          <c:yVal>
            <c:numRef>
              <c:f>'Income Bands &amp; Population chart'!$H$41:$H$48</c:f>
              <c:numCache>
                <c:formatCode>0.000</c:formatCode>
                <c:ptCount val="8"/>
                <c:pt idx="0">
                  <c:v>0.35381846599034211</c:v>
                </c:pt>
                <c:pt idx="1">
                  <c:v>0.29806000157596485</c:v>
                </c:pt>
                <c:pt idx="2">
                  <c:v>0.39656937262430064</c:v>
                </c:pt>
                <c:pt idx="3">
                  <c:v>0.34485078635824434</c:v>
                </c:pt>
                <c:pt idx="4">
                  <c:v>0.24413667304431197</c:v>
                </c:pt>
                <c:pt idx="5">
                  <c:v>0.32509591045134378</c:v>
                </c:pt>
                <c:pt idx="6">
                  <c:v>0.44075095998842206</c:v>
                </c:pt>
                <c:pt idx="7">
                  <c:v>0.31137448542404794</c:v>
                </c:pt>
              </c:numCache>
            </c:numRef>
          </c:yVal>
          <c:smooth val="0"/>
          <c:extLst xmlns:c16r2="http://schemas.microsoft.com/office/drawing/2015/06/chart">
            <c:ext xmlns:c16="http://schemas.microsoft.com/office/drawing/2014/chart" uri="{C3380CC4-5D6E-409C-BE32-E72D297353CC}">
              <c16:uniqueId val="{0000006B-0AB6-4F04-8E31-ED01CCE57E79}"/>
            </c:ext>
            <c:ext xmlns:c15="http://schemas.microsoft.com/office/drawing/2012/chart" uri="{02D57815-91ED-43cb-92C2-25804820EDAC}">
              <c15:datalabelsRange>
                <c15:f>'Income Bands &amp; Population chart'!$B$41:$B$48</c15:f>
                <c15:dlblRangeCache>
                  <c:ptCount val="8"/>
                  <c:pt idx="0">
                    <c:v>Burkina Faso</c:v>
                  </c:pt>
                  <c:pt idx="1">
                    <c:v>Ethiopia</c:v>
                  </c:pt>
                  <c:pt idx="2">
                    <c:v>Madagascar</c:v>
                  </c:pt>
                  <c:pt idx="3">
                    <c:v>Malawi</c:v>
                  </c:pt>
                  <c:pt idx="4">
                    <c:v>Mali</c:v>
                  </c:pt>
                  <c:pt idx="5">
                    <c:v>Mozambique</c:v>
                  </c:pt>
                  <c:pt idx="6">
                    <c:v>Rwanda</c:v>
                  </c:pt>
                  <c:pt idx="7">
                    <c:v>Uganda</c:v>
                  </c:pt>
                </c15:dlblRangeCache>
              </c15:datalabelsRange>
            </c:ext>
          </c:extLst>
        </c:ser>
        <c:dLbls>
          <c:showLegendKey val="0"/>
          <c:showVal val="0"/>
          <c:showCatName val="0"/>
          <c:showSerName val="0"/>
          <c:showPercent val="0"/>
          <c:showBubbleSize val="0"/>
        </c:dLbls>
        <c:axId val="230495896"/>
        <c:axId val="230471592"/>
      </c:scatterChart>
      <c:valAx>
        <c:axId val="230495896"/>
        <c:scaling>
          <c:orientation val="minMax"/>
          <c:max val="0.9"/>
          <c:min val="5.000000000000001E-2"/>
        </c:scaling>
        <c:delete val="0"/>
        <c:axPos val="b"/>
        <c:title>
          <c:tx>
            <c:rich>
              <a:bodyPr rot="0" spcFirstLastPara="1" vertOverflow="ellipsis" vert="horz" wrap="square" anchor="ctr" anchorCtr="1"/>
              <a:lstStyle/>
              <a:p>
                <a:pPr>
                  <a:defRPr sz="1000" b="0" i="0" u="none" strike="noStrike" kern="1200" baseline="0">
                    <a:solidFill>
                      <a:schemeClr val="tx1"/>
                    </a:solidFill>
                    <a:latin typeface="Gill Sans Std Light" panose="020B0302020104020203" pitchFamily="34" charset="0"/>
                    <a:ea typeface="+mn-ea"/>
                    <a:cs typeface="+mn-cs"/>
                  </a:defRPr>
                </a:pPr>
                <a:r>
                  <a:rPr lang="en-SG">
                    <a:solidFill>
                      <a:schemeClr val="tx1"/>
                    </a:solidFill>
                  </a:rPr>
                  <a:t>Capabilities</a:t>
                </a:r>
              </a:p>
            </c:rich>
          </c:tx>
          <c:layout>
            <c:manualLayout>
              <c:xMode val="edge"/>
              <c:yMode val="edge"/>
              <c:x val="0.92747828262581822"/>
              <c:y val="0.5618768857169753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Gill Sans Std Light" panose="020B0302020104020203" pitchFamily="34" charset="0"/>
                <a:ea typeface="+mn-ea"/>
                <a:cs typeface="+mn-cs"/>
              </a:defRPr>
            </a:pPr>
            <a:endParaRPr lang="fr-FR"/>
          </a:p>
        </c:txPr>
        <c:crossAx val="230471592"/>
        <c:crossesAt val="0.57900000000000007"/>
        <c:crossBetween val="midCat"/>
      </c:valAx>
      <c:valAx>
        <c:axId val="230471592"/>
        <c:scaling>
          <c:orientation val="minMax"/>
          <c:min val="0.2"/>
        </c:scaling>
        <c:delete val="0"/>
        <c:axPos val="l"/>
        <c:title>
          <c:tx>
            <c:rich>
              <a:bodyPr rot="0" spcFirstLastPara="1" vertOverflow="ellipsis" wrap="square" anchor="ctr" anchorCtr="1"/>
              <a:lstStyle/>
              <a:p>
                <a:pPr>
                  <a:defRPr sz="1000" b="0" i="0" u="none" strike="noStrike" kern="1200" baseline="0">
                    <a:solidFill>
                      <a:schemeClr val="tx1"/>
                    </a:solidFill>
                    <a:latin typeface="Gill Sans Std Light" panose="020B0302020104020203" pitchFamily="34" charset="0"/>
                    <a:ea typeface="+mn-ea"/>
                    <a:cs typeface="+mn-cs"/>
                  </a:defRPr>
                </a:pPr>
                <a:r>
                  <a:rPr lang="en-SG">
                    <a:solidFill>
                      <a:schemeClr val="tx1"/>
                    </a:solidFill>
                  </a:rPr>
                  <a:t>Outcomes</a:t>
                </a:r>
              </a:p>
            </c:rich>
          </c:tx>
          <c:layout>
            <c:manualLayout>
              <c:xMode val="edge"/>
              <c:yMode val="edge"/>
              <c:x val="0.47867092213514495"/>
              <c:y val="6.7002047064942852E-2"/>
            </c:manualLayout>
          </c:layout>
          <c:overlay val="0"/>
          <c:spPr>
            <a:noFill/>
            <a:ln>
              <a:noFill/>
            </a:ln>
            <a:effectLst/>
          </c:spPr>
          <c:txPr>
            <a:bodyPr rot="0" spcFirstLastPara="1" vertOverflow="ellipsis" wrap="square" anchor="ctr" anchorCtr="1"/>
            <a:lstStyle/>
            <a:p>
              <a:pPr>
                <a:defRPr sz="1000" b="0" i="0" u="none" strike="noStrike" kern="1200" baseline="0">
                  <a:solidFill>
                    <a:schemeClr val="tx1"/>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Gill Sans Std Light" panose="020B0302020104020203" pitchFamily="34" charset="0"/>
                <a:ea typeface="+mn-ea"/>
                <a:cs typeface="+mn-cs"/>
              </a:defRPr>
            </a:pPr>
            <a:endParaRPr lang="fr-FR"/>
          </a:p>
        </c:txPr>
        <c:crossAx val="230495896"/>
        <c:crossesAt val="0.52400000000000002"/>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732694396744525E-2"/>
          <c:y val="0.12669006867264368"/>
          <c:w val="0.90164722211797566"/>
          <c:h val="0.7614223389242295"/>
        </c:manualLayout>
      </c:layout>
      <c:scatterChart>
        <c:scatterStyle val="lineMarker"/>
        <c:varyColors val="0"/>
        <c:ser>
          <c:idx val="0"/>
          <c:order val="0"/>
          <c:tx>
            <c:v>Correlation between Anti-Corruption and Property Rights</c:v>
          </c:tx>
          <c:spPr>
            <a:ln w="25400" cap="rnd">
              <a:noFill/>
              <a:round/>
            </a:ln>
            <a:effectLst/>
          </c:spPr>
          <c:marker>
            <c:symbol val="circle"/>
            <c:size val="3"/>
            <c:spPr>
              <a:solidFill>
                <a:srgbClr val="002060"/>
              </a:solidFill>
              <a:ln w="9525">
                <a:noFill/>
              </a:ln>
              <a:effectLst/>
            </c:spPr>
          </c:marker>
          <c:dLbls>
            <c:dLbl>
              <c:idx val="0"/>
              <c:layout/>
              <c:tx>
                <c:rich>
                  <a:bodyPr/>
                  <a:lstStyle/>
                  <a:p>
                    <a:fld id="{AF920E38-28DE-465D-82CE-7E3FAB670996}" type="CELLRANGE">
                      <a:rPr lang="en-US"/>
                      <a:pPr/>
                      <a:t>[CELLRANGE]</a:t>
                    </a:fld>
                    <a:endParaRPr lang="fr-FR"/>
                  </a:p>
                </c:rich>
              </c:tx>
              <c:dLblPos val="t"/>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4169-4ACD-B2D3-1C6462EB1DB5}"/>
                </c:ext>
                <c:ext xmlns:c15="http://schemas.microsoft.com/office/drawing/2012/chart" uri="{CE6537A1-D6FC-4f65-9D91-7224C49458BB}">
                  <c15:layout/>
                  <c15:dlblFieldTable/>
                  <c15:showDataLabelsRange val="1"/>
                </c:ext>
              </c:extLst>
            </c:dLbl>
            <c:dLbl>
              <c:idx val="1"/>
              <c:layout>
                <c:manualLayout>
                  <c:x val="0"/>
                  <c:y val="-3.0895335222815026E-2"/>
                </c:manualLayout>
              </c:layout>
              <c:tx>
                <c:rich>
                  <a:bodyPr/>
                  <a:lstStyle/>
                  <a:p>
                    <a:fld id="{D0C9FA42-B803-41D8-8DF2-51B9340FD39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4169-4ACD-B2D3-1C6462EB1DB5}"/>
                </c:ext>
                <c:ext xmlns:c15="http://schemas.microsoft.com/office/drawing/2012/chart" uri="{CE6537A1-D6FC-4f65-9D91-7224C49458BB}">
                  <c15:layout/>
                  <c15:dlblFieldTable/>
                  <c15:showDataLabelsRange val="1"/>
                </c:ext>
              </c:extLst>
            </c:dLbl>
            <c:dLbl>
              <c:idx val="2"/>
              <c:layout/>
              <c:tx>
                <c:rich>
                  <a:bodyPr/>
                  <a:lstStyle/>
                  <a:p>
                    <a:fld id="{927922D9-E12F-47CD-83EC-A8249BA4C98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D18D7A0B-F91E-4F81-9FB5-013A9D6719C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C678783B-E076-4CCB-9DD6-A4432928284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30FE7218-1C52-4E66-B3EC-890FD0DDE6C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C51514EC-E6C7-43AE-9B61-04744D39139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manualLayout>
                  <c:x val="-1.4843106103259554E-2"/>
                  <c:y val="3.9521277922913212E-2"/>
                </c:manualLayout>
              </c:layout>
              <c:tx>
                <c:rich>
                  <a:bodyPr/>
                  <a:lstStyle/>
                  <a:p>
                    <a:fld id="{38370871-C8BC-47A9-9A89-A027124DC79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4169-4ACD-B2D3-1C6462EB1DB5}"/>
                </c:ext>
                <c:ext xmlns:c15="http://schemas.microsoft.com/office/drawing/2012/chart" uri="{CE6537A1-D6FC-4f65-9D91-7224C49458BB}">
                  <c15:layout/>
                  <c15:dlblFieldTable/>
                  <c15:showDataLabelsRange val="1"/>
                </c:ext>
              </c:extLst>
            </c:dLbl>
            <c:dLbl>
              <c:idx val="8"/>
              <c:layout/>
              <c:tx>
                <c:rich>
                  <a:bodyPr/>
                  <a:lstStyle/>
                  <a:p>
                    <a:fld id="{D84E1690-4A97-48D1-9F48-8FF7233022D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
              <c:layout/>
              <c:tx>
                <c:rich>
                  <a:bodyPr/>
                  <a:lstStyle/>
                  <a:p>
                    <a:fld id="{1A2FEC7D-9CF7-4C30-A9DB-FE8630F112C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0"/>
                  <c:y val="3.5310057809076659E-2"/>
                </c:manualLayout>
              </c:layout>
              <c:tx>
                <c:rich>
                  <a:bodyPr/>
                  <a:lstStyle/>
                  <a:p>
                    <a:fld id="{9987DBB0-0638-46A5-BE75-16C9A419244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4169-4ACD-B2D3-1C6462EB1DB5}"/>
                </c:ext>
                <c:ext xmlns:c15="http://schemas.microsoft.com/office/drawing/2012/chart" uri="{CE6537A1-D6FC-4f65-9D91-7224C49458BB}">
                  <c15:layout/>
                  <c15:dlblFieldTable/>
                  <c15:showDataLabelsRange val="1"/>
                </c:ext>
              </c:extLst>
            </c:dLbl>
            <c:dLbl>
              <c:idx val="11"/>
              <c:layout>
                <c:manualLayout>
                  <c:x val="1.3687731330384687E-3"/>
                  <c:y val="-1.2117571717287463E-2"/>
                </c:manualLayout>
              </c:layout>
              <c:tx>
                <c:rich>
                  <a:bodyPr/>
                  <a:lstStyle/>
                  <a:p>
                    <a:fld id="{E97572D2-7DC2-4223-9294-E27E30E2983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4169-4ACD-B2D3-1C6462EB1DB5}"/>
                </c:ext>
                <c:ext xmlns:c15="http://schemas.microsoft.com/office/drawing/2012/chart" uri="{CE6537A1-D6FC-4f65-9D91-7224C49458BB}">
                  <c15:layout/>
                  <c15:dlblFieldTable/>
                  <c15:showDataLabelsRange val="1"/>
                </c:ext>
              </c:extLst>
            </c:dLbl>
            <c:dLbl>
              <c:idx val="12"/>
              <c:layout/>
              <c:tx>
                <c:rich>
                  <a:bodyPr/>
                  <a:lstStyle/>
                  <a:p>
                    <a:fld id="{FD60EB27-BEA5-4B5B-9B77-BF26A90CDB4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2BB021F3-92F6-4547-82F4-0EF68FAC32E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manualLayout>
                  <c:x val="-5.2515268075356121E-2"/>
                  <c:y val="-2.3853673908242164E-2"/>
                </c:manualLayout>
              </c:layout>
              <c:tx>
                <c:rich>
                  <a:bodyPr/>
                  <a:lstStyle/>
                  <a:p>
                    <a:fld id="{FC0918BD-5661-4C30-8A14-078A8775160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4169-4ACD-B2D3-1C6462EB1DB5}"/>
                </c:ext>
                <c:ext xmlns:c15="http://schemas.microsoft.com/office/drawing/2012/chart" uri="{CE6537A1-D6FC-4f65-9D91-7224C49458BB}">
                  <c15:layout/>
                  <c15:dlblFieldTable/>
                  <c15:showDataLabelsRange val="1"/>
                </c:ext>
              </c:extLst>
            </c:dLbl>
            <c:dLbl>
              <c:idx val="15"/>
              <c:layout>
                <c:manualLayout>
                  <c:x val="-2.881849742634434E-2"/>
                  <c:y val="3.0132396170149456E-2"/>
                </c:manualLayout>
              </c:layout>
              <c:tx>
                <c:rich>
                  <a:bodyPr/>
                  <a:lstStyle/>
                  <a:p>
                    <a:fld id="{A710127F-676E-401B-A018-D02BFC13A45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4169-4ACD-B2D3-1C6462EB1DB5}"/>
                </c:ext>
                <c:ext xmlns:c15="http://schemas.microsoft.com/office/drawing/2012/chart" uri="{CE6537A1-D6FC-4f65-9D91-7224C49458BB}">
                  <c15:layout/>
                  <c15:dlblFieldTable/>
                  <c15:showDataLabelsRange val="1"/>
                </c:ext>
              </c:extLst>
            </c:dLbl>
            <c:dLbl>
              <c:idx val="16"/>
              <c:layout/>
              <c:tx>
                <c:rich>
                  <a:bodyPr/>
                  <a:lstStyle/>
                  <a:p>
                    <a:fld id="{FFE874EE-326A-430B-AAB0-2B0B31AB236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11276281-6640-44A2-98F4-1C2FA092912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manualLayout>
                  <c:x val="-2.6228643758309786E-2"/>
                  <c:y val="-2.3853673908242164E-2"/>
                </c:manualLayout>
              </c:layout>
              <c:tx>
                <c:rich>
                  <a:bodyPr/>
                  <a:lstStyle/>
                  <a:p>
                    <a:fld id="{F061EE42-8AD5-4567-8E21-F12B499A7A9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4169-4ACD-B2D3-1C6462EB1DB5}"/>
                </c:ext>
                <c:ext xmlns:c15="http://schemas.microsoft.com/office/drawing/2012/chart" uri="{CE6537A1-D6FC-4f65-9D91-7224C49458BB}">
                  <c15:layout/>
                  <c15:dlblFieldTable/>
                  <c15:showDataLabelsRange val="1"/>
                </c:ext>
              </c:extLst>
            </c:dLbl>
            <c:dLbl>
              <c:idx val="19"/>
              <c:layout/>
              <c:tx>
                <c:rich>
                  <a:bodyPr/>
                  <a:lstStyle/>
                  <a:p>
                    <a:fld id="{2052CA31-91E8-4B0C-BBF9-8FA26796093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E79E6521-30CB-4F38-B399-F630952788F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2.228048336182252E-2"/>
                  <c:y val="3.9521277922913212E-2"/>
                </c:manualLayout>
              </c:layout>
              <c:tx>
                <c:rich>
                  <a:bodyPr/>
                  <a:lstStyle/>
                  <a:p>
                    <a:fld id="{B6F8870D-C024-4CE0-A8CA-61D8E2644E2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4169-4ACD-B2D3-1C6462EB1DB5}"/>
                </c:ext>
                <c:ext xmlns:c15="http://schemas.microsoft.com/office/drawing/2012/chart" uri="{CE6537A1-D6FC-4f65-9D91-7224C49458BB}">
                  <c15:layout/>
                  <c15:dlblFieldTable/>
                  <c15:showDataLabelsRange val="1"/>
                </c:ext>
              </c:extLst>
            </c:dLbl>
            <c:dLbl>
              <c:idx val="22"/>
              <c:layout/>
              <c:tx>
                <c:rich>
                  <a:bodyPr/>
                  <a:lstStyle/>
                  <a:p>
                    <a:fld id="{3481107D-1298-4B88-BB99-DBA53FF1B25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BA2AFDE1-AC22-45A5-AC92-025493943A8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9B802508-75DB-49B5-A31D-0B65023A6B1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tx>
                <c:rich>
                  <a:bodyPr/>
                  <a:lstStyle/>
                  <a:p>
                    <a:fld id="{F3A9BA70-A855-478F-AAC1-C6C2D182F2F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tx>
                <c:rich>
                  <a:bodyPr/>
                  <a:lstStyle/>
                  <a:p>
                    <a:fld id="{E57119BD-8CE9-430A-8A90-083C78E18C1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4DBBF992-D77D-423B-BEE1-C82C534A00B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408910AF-F0EB-47C5-BBA5-550BDA77873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66A3DB74-951F-4A17-AF20-0B2658126F8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5D2C7FAA-AC24-4984-B2C9-88270CD7095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6.0018600296149562E-2"/>
                  <c:y val="-2.8548114784624042E-2"/>
                </c:manualLayout>
              </c:layout>
              <c:tx>
                <c:rich>
                  <a:bodyPr/>
                  <a:lstStyle/>
                  <a:p>
                    <a:fld id="{E4FC3A0A-F5A5-4CFB-A138-27AE49536A9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4169-4ACD-B2D3-1C6462EB1DB5}"/>
                </c:ext>
                <c:ext xmlns:c15="http://schemas.microsoft.com/office/drawing/2012/chart" uri="{CE6537A1-D6FC-4f65-9D91-7224C49458BB}">
                  <c15:layout/>
                  <c15:dlblFieldTable/>
                  <c15:showDataLabelsRange val="1"/>
                </c:ext>
              </c:extLst>
            </c:dLbl>
            <c:dLbl>
              <c:idx val="32"/>
              <c:layout/>
              <c:tx>
                <c:rich>
                  <a:bodyPr/>
                  <a:lstStyle/>
                  <a:p>
                    <a:fld id="{A4720A38-D748-4F8B-92C8-01D93400B64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1.2606618190046315E-2"/>
                  <c:y val="6.6601917882400559E-3"/>
                </c:manualLayout>
              </c:layout>
              <c:tx>
                <c:rich>
                  <a:bodyPr/>
                  <a:lstStyle/>
                  <a:p>
                    <a:fld id="{1AD97546-8A2F-4E4B-8EB6-D6888A2852E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4169-4ACD-B2D3-1C6462EB1DB5}"/>
                </c:ext>
                <c:ext xmlns:c15="http://schemas.microsoft.com/office/drawing/2012/chart" uri="{CE6537A1-D6FC-4f65-9D91-7224C49458BB}">
                  <c15:layout/>
                  <c15:dlblFieldTable/>
                  <c15:showDataLabelsRange val="1"/>
                </c:ext>
              </c:extLst>
            </c:dLbl>
            <c:dLbl>
              <c:idx val="34"/>
              <c:layout>
                <c:manualLayout>
                  <c:x val="-4.6806213014250468E-2"/>
                  <c:y val="-0.11271752040384055"/>
                </c:manualLayout>
              </c:layout>
              <c:tx>
                <c:rich>
                  <a:bodyPr/>
                  <a:lstStyle/>
                  <a:p>
                    <a:fld id="{5E12B191-E331-4B96-A9BC-A4A1F83131B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4169-4ACD-B2D3-1C6462EB1DB5}"/>
                </c:ext>
                <c:ext xmlns:c15="http://schemas.microsoft.com/office/drawing/2012/chart" uri="{CE6537A1-D6FC-4f65-9D91-7224C49458BB}">
                  <c15:layout/>
                  <c15:dlblFieldTable/>
                  <c15:showDataLabelsRange val="1"/>
                </c:ext>
              </c:extLst>
            </c:dLbl>
            <c:dLbl>
              <c:idx val="35"/>
              <c:layout/>
              <c:tx>
                <c:rich>
                  <a:bodyPr/>
                  <a:lstStyle/>
                  <a:p>
                    <a:fld id="{A4AE20F6-7E38-40F6-9336-0213543EA6B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6"/>
              <c:layout>
                <c:manualLayout>
                  <c:x val="-0.13101220407878528"/>
                  <c:y val="-2.2451371676931033E-2"/>
                </c:manualLayout>
              </c:layout>
              <c:tx>
                <c:rich>
                  <a:bodyPr/>
                  <a:lstStyle/>
                  <a:p>
                    <a:fld id="{410AF979-67C5-409C-BDB0-0779D18EDEF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4169-4ACD-B2D3-1C6462EB1DB5}"/>
                </c:ext>
                <c:ext xmlns:c15="http://schemas.microsoft.com/office/drawing/2012/chart" uri="{CE6537A1-D6FC-4f65-9D91-7224C49458BB}">
                  <c15:layout/>
                  <c15:dlblFieldTable/>
                  <c15:showDataLabelsRange val="1"/>
                </c:ext>
              </c:extLst>
            </c:dLbl>
            <c:dLbl>
              <c:idx val="37"/>
              <c:layout>
                <c:manualLayout>
                  <c:x val="-4.1946738153994606E-2"/>
                  <c:y val="2.2171552528464783E-2"/>
                </c:manualLayout>
              </c:layout>
              <c:tx>
                <c:rich>
                  <a:bodyPr/>
                  <a:lstStyle/>
                  <a:p>
                    <a:fld id="{5E5F2DD9-FA9B-49C3-929D-12B49903180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5-4169-4ACD-B2D3-1C6462EB1DB5}"/>
                </c:ext>
                <c:ext xmlns:c15="http://schemas.microsoft.com/office/drawing/2012/chart" uri="{CE6537A1-D6FC-4f65-9D91-7224C49458BB}">
                  <c15:layout/>
                  <c15:dlblFieldTable/>
                  <c15:showDataLabelsRange val="1"/>
                </c:ext>
              </c:extLst>
            </c:dLbl>
            <c:dLbl>
              <c:idx val="38"/>
              <c:layout/>
              <c:tx>
                <c:rich>
                  <a:bodyPr/>
                  <a:lstStyle/>
                  <a:p>
                    <a:fld id="{0575A3E7-D029-46B1-BD8B-48DA47649C0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tx>
                <c:rich>
                  <a:bodyPr/>
                  <a:lstStyle/>
                  <a:p>
                    <a:fld id="{46AC7A23-D739-4E29-926E-3D54162D223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0"/>
              <c:layout/>
              <c:tx>
                <c:rich>
                  <a:bodyPr/>
                  <a:lstStyle/>
                  <a:p>
                    <a:fld id="{3E0F1839-AE54-46E7-BF57-A216017734A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1"/>
              <c:layout/>
              <c:tx>
                <c:rich>
                  <a:bodyPr/>
                  <a:lstStyle/>
                  <a:p>
                    <a:fld id="{193B4DD9-93A1-4584-AB2C-A0305F0E5D0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6.029979552992331E-2"/>
                  <c:y val="-2.7952460199408061E-2"/>
                </c:manualLayout>
              </c:layout>
              <c:tx>
                <c:rich>
                  <a:bodyPr/>
                  <a:lstStyle/>
                  <a:p>
                    <a:fld id="{44E54DBA-D083-4F65-9907-20A34E1F489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4169-4ACD-B2D3-1C6462EB1DB5}"/>
                </c:ext>
                <c:ext xmlns:c15="http://schemas.microsoft.com/office/drawing/2012/chart" uri="{CE6537A1-D6FC-4f65-9D91-7224C49458BB}">
                  <c15:layout/>
                  <c15:dlblFieldTable/>
                  <c15:showDataLabelsRange val="1"/>
                </c:ext>
              </c:extLst>
            </c:dLbl>
            <c:dLbl>
              <c:idx val="43"/>
              <c:layout/>
              <c:tx>
                <c:rich>
                  <a:bodyPr/>
                  <a:lstStyle/>
                  <a:p>
                    <a:fld id="{62002E3F-849E-440C-8782-577F71AABB8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4"/>
              <c:layout>
                <c:manualLayout>
                  <c:x val="-3.8785172726410341E-2"/>
                  <c:y val="3.4826837046531334E-2"/>
                </c:manualLayout>
              </c:layout>
              <c:tx>
                <c:rich>
                  <a:bodyPr/>
                  <a:lstStyle/>
                  <a:p>
                    <a:fld id="{DAD9ADB2-4C47-4160-8B21-7231884C4ED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4169-4ACD-B2D3-1C6462EB1DB5}"/>
                </c:ext>
                <c:ext xmlns:c15="http://schemas.microsoft.com/office/drawing/2012/chart" uri="{CE6537A1-D6FC-4f65-9D91-7224C49458BB}">
                  <c15:layout/>
                  <c15:dlblFieldTable/>
                  <c15:showDataLabelsRange val="1"/>
                </c:ext>
              </c:extLst>
            </c:dLbl>
            <c:dLbl>
              <c:idx val="45"/>
              <c:layout>
                <c:manualLayout>
                  <c:x val="-9.6100823368755806E-2"/>
                  <c:y val="-0.10816851003667113"/>
                </c:manualLayout>
              </c:layout>
              <c:tx>
                <c:rich>
                  <a:bodyPr/>
                  <a:lstStyle/>
                  <a:p>
                    <a:fld id="{069AF7BC-261B-4353-91DC-C26CD8AF046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4169-4ACD-B2D3-1C6462EB1DB5}"/>
                </c:ext>
                <c:ext xmlns:c15="http://schemas.microsoft.com/office/drawing/2012/chart" uri="{CE6537A1-D6FC-4f65-9D91-7224C49458BB}">
                  <c15:layout/>
                  <c15:dlblFieldTable/>
                  <c15:showDataLabelsRange val="1"/>
                </c:ext>
              </c:extLst>
            </c:dLbl>
            <c:dLbl>
              <c:idx val="46"/>
              <c:layout>
                <c:manualLayout>
                  <c:x val="-2.3520087771601122E-2"/>
                  <c:y val="4.6562939237485945E-2"/>
                </c:manualLayout>
              </c:layout>
              <c:tx>
                <c:rich>
                  <a:bodyPr/>
                  <a:lstStyle/>
                  <a:p>
                    <a:fld id="{E940E07A-0E1B-41AA-A616-BAFDEABF5FE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4169-4ACD-B2D3-1C6462EB1DB5}"/>
                </c:ext>
                <c:ext xmlns:c15="http://schemas.microsoft.com/office/drawing/2012/chart" uri="{CE6537A1-D6FC-4f65-9D91-7224C49458BB}">
                  <c15:layout/>
                  <c15:dlblFieldTable/>
                  <c15:showDataLabelsRange val="1"/>
                </c:ext>
              </c:extLst>
            </c:dLbl>
            <c:dLbl>
              <c:idx val="47"/>
              <c:layout>
                <c:manualLayout>
                  <c:x val="-3.4289935023567398E-4"/>
                  <c:y val="-3.5589776099196863E-2"/>
                </c:manualLayout>
              </c:layout>
              <c:tx>
                <c:rich>
                  <a:bodyPr/>
                  <a:lstStyle/>
                  <a:p>
                    <a:fld id="{B531E0F1-A633-4F80-906F-43CEB423496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4169-4ACD-B2D3-1C6462EB1DB5}"/>
                </c:ext>
                <c:ext xmlns:c15="http://schemas.microsoft.com/office/drawing/2012/chart" uri="{CE6537A1-D6FC-4f65-9D91-7224C49458BB}">
                  <c15:layout/>
                  <c15:dlblFieldTable/>
                  <c15:showDataLabelsRange val="1"/>
                </c:ext>
              </c:extLst>
            </c:dLbl>
            <c:dLbl>
              <c:idx val="48"/>
              <c:layout/>
              <c:tx>
                <c:rich>
                  <a:bodyPr/>
                  <a:lstStyle/>
                  <a:p>
                    <a:fld id="{2E182EF4-C332-406F-90BA-02A1A8D3C6C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9"/>
              <c:layout>
                <c:manualLayout>
                  <c:x val="-3.8533644247761879E-2"/>
                  <c:y val="-2.7952460199408061E-2"/>
                </c:manualLayout>
              </c:layout>
              <c:tx>
                <c:rich>
                  <a:bodyPr/>
                  <a:lstStyle/>
                  <a:p>
                    <a:fld id="{E3834355-8445-4CA6-B71F-491AEF91EAF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4169-4ACD-B2D3-1C6462EB1DB5}"/>
                </c:ext>
                <c:ext xmlns:c15="http://schemas.microsoft.com/office/drawing/2012/chart" uri="{CE6537A1-D6FC-4f65-9D91-7224C49458BB}">
                  <c15:layout/>
                  <c15:dlblFieldTable/>
                  <c15:showDataLabelsRange val="1"/>
                </c:ext>
              </c:extLst>
            </c:dLbl>
            <c:dLbl>
              <c:idx val="50"/>
              <c:layout>
                <c:manualLayout>
                  <c:x val="-3.0897825706474428E-2"/>
                  <c:y val="-2.7952460199407961E-2"/>
                </c:manualLayout>
              </c:layout>
              <c:tx>
                <c:rich>
                  <a:bodyPr/>
                  <a:lstStyle/>
                  <a:p>
                    <a:fld id="{24206452-A0C3-4E6F-BFAC-F028FFFF393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2-4169-4ACD-B2D3-1C6462EB1DB5}"/>
                </c:ext>
                <c:ext xmlns:c15="http://schemas.microsoft.com/office/drawing/2012/chart" uri="{CE6537A1-D6FC-4f65-9D91-7224C49458BB}">
                  <c15:layout/>
                  <c15:dlblFieldTable/>
                  <c15:showDataLabelsRange val="1"/>
                </c:ext>
              </c:extLst>
            </c:dLbl>
            <c:dLbl>
              <c:idx val="51"/>
              <c:layout>
                <c:manualLayout>
                  <c:x val="-1.9172042134607697E-2"/>
                  <c:y val="-5.5457902811792602E-2"/>
                </c:manualLayout>
              </c:layout>
              <c:tx>
                <c:rich>
                  <a:bodyPr/>
                  <a:lstStyle/>
                  <a:p>
                    <a:fld id="{CA77B965-66F6-4AED-9686-EACA5EB4A88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3-4169-4ACD-B2D3-1C6462EB1DB5}"/>
                </c:ext>
                <c:ext xmlns:c15="http://schemas.microsoft.com/office/drawing/2012/chart" uri="{CE6537A1-D6FC-4f65-9D91-7224C49458BB}">
                  <c15:layout/>
                  <c15:dlblFieldTable/>
                  <c15:showDataLabelsRange val="1"/>
                </c:ext>
              </c:extLst>
            </c:dLbl>
            <c:dLbl>
              <c:idx val="52"/>
              <c:layout>
                <c:manualLayout>
                  <c:x val="-1.950331427838543E-2"/>
                  <c:y val="3.4826837046531334E-2"/>
                </c:manualLayout>
              </c:layout>
              <c:tx>
                <c:rich>
                  <a:bodyPr/>
                  <a:lstStyle/>
                  <a:p>
                    <a:fld id="{973AA314-F03F-4AF0-BAEB-E79C245AAA2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4-4169-4ACD-B2D3-1C6462EB1DB5}"/>
                </c:ext>
                <c:ext xmlns:c15="http://schemas.microsoft.com/office/drawing/2012/chart" uri="{CE6537A1-D6FC-4f65-9D91-7224C49458BB}">
                  <c15:layout/>
                  <c15:dlblFieldTable/>
                  <c15:showDataLabelsRange val="1"/>
                </c:ext>
              </c:extLst>
            </c:dLbl>
            <c:dLbl>
              <c:idx val="53"/>
              <c:layout>
                <c:manualLayout>
                  <c:x val="-5.4577731245656687E-2"/>
                  <c:y val="-1.2117571717287549E-2"/>
                </c:manualLayout>
              </c:layout>
              <c:tx>
                <c:rich>
                  <a:bodyPr/>
                  <a:lstStyle/>
                  <a:p>
                    <a:fld id="{C93C2BA4-2FA6-4AEB-80CD-8AFEB1D2C4C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5-4169-4ACD-B2D3-1C6462EB1DB5}"/>
                </c:ext>
                <c:ext xmlns:c15="http://schemas.microsoft.com/office/drawing/2012/chart" uri="{CE6537A1-D6FC-4f65-9D91-7224C49458BB}">
                  <c15:layout/>
                  <c15:dlblFieldTable/>
                  <c15:showDataLabelsRange val="1"/>
                </c:ext>
              </c:extLst>
            </c:dLbl>
            <c:dLbl>
              <c:idx val="54"/>
              <c:layout>
                <c:manualLayout>
                  <c:x val="-5.446017611947733E-2"/>
                  <c:y val="-9.3965522469131091E-2"/>
                </c:manualLayout>
              </c:layout>
              <c:tx>
                <c:rich>
                  <a:bodyPr/>
                  <a:lstStyle/>
                  <a:p>
                    <a:fld id="{C8C122B5-F9A5-460A-81FA-DBCE290A872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6-4169-4ACD-B2D3-1C6462EB1DB5}"/>
                </c:ext>
                <c:ext xmlns:c15="http://schemas.microsoft.com/office/drawing/2012/chart" uri="{CE6537A1-D6FC-4f65-9D91-7224C49458BB}">
                  <c15:layout/>
                  <c15:dlblFieldTable/>
                  <c15:showDataLabelsRange val="1"/>
                </c:ext>
              </c:extLst>
            </c:dLbl>
            <c:dLbl>
              <c:idx val="55"/>
              <c:layout>
                <c:manualLayout>
                  <c:x val="-6.0608591214357063E-2"/>
                  <c:y val="-0.10072341479853454"/>
                </c:manualLayout>
              </c:layout>
              <c:tx>
                <c:rich>
                  <a:bodyPr/>
                  <a:lstStyle/>
                  <a:p>
                    <a:fld id="{525AEFF5-1204-4182-8748-9F3B0F4405E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4169-4ACD-B2D3-1C6462EB1DB5}"/>
                </c:ext>
                <c:ext xmlns:c15="http://schemas.microsoft.com/office/drawing/2012/chart" uri="{CE6537A1-D6FC-4f65-9D91-7224C49458BB}">
                  <c15:layout/>
                  <c15:dlblFieldTable/>
                  <c15:showDataLabelsRange val="1"/>
                </c:ext>
              </c:extLst>
            </c:dLbl>
            <c:dLbl>
              <c:idx val="56"/>
              <c:layout/>
              <c:tx>
                <c:rich>
                  <a:bodyPr/>
                  <a:lstStyle/>
                  <a:p>
                    <a:fld id="{3106168F-5F2F-4A9B-947A-7C242253CAB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7"/>
              <c:layout/>
              <c:tx>
                <c:rich>
                  <a:bodyPr/>
                  <a:lstStyle/>
                  <a:p>
                    <a:fld id="{D6C1E86E-4302-47CD-94C6-5AFFFD5CC3C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tx>
                <c:rich>
                  <a:bodyPr/>
                  <a:lstStyle/>
                  <a:p>
                    <a:fld id="{E3D5D2F2-D610-4D5E-84CC-D7902B65909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6.2314405622966605E-2"/>
                  <c:y val="2.4307880764122852E-2"/>
                </c:manualLayout>
              </c:layout>
              <c:tx>
                <c:rich>
                  <a:bodyPr/>
                  <a:lstStyle/>
                  <a:p>
                    <a:fld id="{7EB7C2D8-777D-454D-8A40-5E240E02474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4169-4ACD-B2D3-1C6462EB1DB5}"/>
                </c:ext>
                <c:ext xmlns:c15="http://schemas.microsoft.com/office/drawing/2012/chart" uri="{CE6537A1-D6FC-4f65-9D91-7224C49458BB}">
                  <c15:layout/>
                  <c15:dlblFieldTable/>
                  <c15:showDataLabelsRange val="1"/>
                </c:ext>
              </c:extLst>
            </c:dLbl>
            <c:dLbl>
              <c:idx val="60"/>
              <c:layout/>
              <c:tx>
                <c:rich>
                  <a:bodyPr/>
                  <a:lstStyle/>
                  <a:p>
                    <a:fld id="{06BA07E8-9BBB-43E9-8758-01150140697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FC5600BA-7F21-4267-9DB0-02C89EE7322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1B1C543B-5EE3-4A17-8BAB-E3487ED2714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9E0CC568-B65B-4CEC-B5BD-8DACDC41A5C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7C89A0FB-071A-46E1-A487-903109E6426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C754317A-5A59-4B96-9DA4-862A347F58C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10E1C73B-0365-4913-AC30-B77048FD3B6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90730A4E-FB7C-4F77-8400-156BF901A6A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9C12FD08-05DE-43A8-8286-5BA185EFAC5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C058DF4E-6948-4E48-AFF1-2C1FA39B729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E4BE8192-9A4A-4EBC-B946-64B731795C8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47F7F7F8-9544-445D-B1A9-B94FA6E5507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63575F44-1193-4E3B-A912-922168E9A57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813CDD48-60D8-456D-9D69-DB3F7BB1AA5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AB410535-0B3D-4AF2-B008-25F03EC6A4B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B1CC7170-56EA-4FE5-B275-23CB9266E14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35020AE4-D0A1-49AC-9881-E8E9C206C18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95896DB3-8169-433F-9BC0-462AB560A50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0C063AF2-313D-4727-BCDA-A89C803A298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4C6EF6D6-DE34-4621-BB23-3EEBE87F997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B01D835A-D8E7-40AA-8991-FDB217A0057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B5B0EA10-947F-4E01-9C4C-CC6AB37A607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1182B1B7-37FF-4E73-8981-78B350B79A3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5B0AC68C-4F23-4077-9C29-61C0D4507A8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5A6B2D0F-4F4D-4536-B5EE-4905409F4BA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05E6EDBD-B19D-487C-AED1-3088DE8677F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1C83018A-3048-4A8A-85EF-9C138FEF0A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643F126F-6161-4D73-8322-23B18574A3A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29E6EE7D-02C6-4897-945C-71488A64E46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2C813E4A-F3DF-4F00-8AEB-C94C0BCC7D0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F98861CF-27B3-4152-8C1A-5B894F91536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613EA399-5842-4E3B-A21A-D7644051E0F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5DBF09B9-224C-4A6D-B48C-4C74FDB29DD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C978756C-041A-496C-828B-5F31C3CEB9F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A25576D9-A566-4CBC-B85B-9AA29110AB9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1FDE022A-DD3A-4F54-A2FC-1310D299737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D9BCEE17-D2F9-4C7C-96A6-A87710D7FF1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6DBEB5A3-1172-4F96-B25A-E6EE3BE77BB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35AB4869-DDAA-4E57-BD16-E2711F13919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CC45A105-BEE2-4F67-AF95-9D0732D5C6E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9273ECE4-D46A-4A27-8E30-1CC3277C823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9CE84A86-1692-43A6-AB0B-B5E2540EE63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L$3:$L$104</c:f>
              <c:numCache>
                <c:formatCode>0.000</c:formatCode>
                <c:ptCount val="102"/>
                <c:pt idx="0">
                  <c:v>1</c:v>
                </c:pt>
                <c:pt idx="1">
                  <c:v>0.85626592242518473</c:v>
                </c:pt>
                <c:pt idx="2">
                  <c:v>0.82977133212477516</c:v>
                </c:pt>
                <c:pt idx="3">
                  <c:v>0.8092399277118647</c:v>
                </c:pt>
                <c:pt idx="4">
                  <c:v>0.78268444453185781</c:v>
                </c:pt>
                <c:pt idx="5">
                  <c:v>0.81227792759758055</c:v>
                </c:pt>
                <c:pt idx="6">
                  <c:v>0.89038230439533694</c:v>
                </c:pt>
                <c:pt idx="7">
                  <c:v>0.71811526913135482</c:v>
                </c:pt>
                <c:pt idx="8">
                  <c:v>0.90470774966440826</c:v>
                </c:pt>
                <c:pt idx="9">
                  <c:v>0.64424634390619839</c:v>
                </c:pt>
                <c:pt idx="10">
                  <c:v>0.8154776753508709</c:v>
                </c:pt>
                <c:pt idx="11">
                  <c:v>0.94418162843223963</c:v>
                </c:pt>
                <c:pt idx="12">
                  <c:v>0.48530746556658877</c:v>
                </c:pt>
                <c:pt idx="13">
                  <c:v>0.64828540390252587</c:v>
                </c:pt>
                <c:pt idx="14">
                  <c:v>0.81577427972736061</c:v>
                </c:pt>
                <c:pt idx="15">
                  <c:v>0.76835724158670826</c:v>
                </c:pt>
                <c:pt idx="16">
                  <c:v>0.59929621531303523</c:v>
                </c:pt>
                <c:pt idx="17">
                  <c:v>0.71105046908019209</c:v>
                </c:pt>
                <c:pt idx="18">
                  <c:v>0.73365506301631378</c:v>
                </c:pt>
                <c:pt idx="19">
                  <c:v>0.76251635726347766</c:v>
                </c:pt>
                <c:pt idx="20">
                  <c:v>0.78027743938319705</c:v>
                </c:pt>
                <c:pt idx="21">
                  <c:v>0.61062027258807394</c:v>
                </c:pt>
                <c:pt idx="22">
                  <c:v>0.68051752716700908</c:v>
                </c:pt>
                <c:pt idx="23">
                  <c:v>0.64926742814985161</c:v>
                </c:pt>
                <c:pt idx="24">
                  <c:v>0.45410305140504981</c:v>
                </c:pt>
                <c:pt idx="25">
                  <c:v>0.81807619280677812</c:v>
                </c:pt>
                <c:pt idx="26">
                  <c:v>0.58230310809576857</c:v>
                </c:pt>
                <c:pt idx="27">
                  <c:v>0.51007085640568495</c:v>
                </c:pt>
                <c:pt idx="28">
                  <c:v>0.47167123969364011</c:v>
                </c:pt>
                <c:pt idx="29">
                  <c:v>0.35986077602494354</c:v>
                </c:pt>
                <c:pt idx="30">
                  <c:v>0.79318363513834489</c:v>
                </c:pt>
                <c:pt idx="31">
                  <c:v>0.95113695871171089</c:v>
                </c:pt>
                <c:pt idx="32">
                  <c:v>0.56980304825170947</c:v>
                </c:pt>
                <c:pt idx="33">
                  <c:v>0.42085528470098604</c:v>
                </c:pt>
                <c:pt idx="34">
                  <c:v>0.49860099396536717</c:v>
                </c:pt>
                <c:pt idx="35">
                  <c:v>0.73513925140598546</c:v>
                </c:pt>
                <c:pt idx="36">
                  <c:v>0.41843183563808956</c:v>
                </c:pt>
                <c:pt idx="37">
                  <c:v>0.56361324673705104</c:v>
                </c:pt>
                <c:pt idx="38">
                  <c:v>0.5484620020180061</c:v>
                </c:pt>
                <c:pt idx="39">
                  <c:v>0.62351616654198527</c:v>
                </c:pt>
                <c:pt idx="40">
                  <c:v>0.3924139892587481</c:v>
                </c:pt>
                <c:pt idx="41">
                  <c:v>0.49629419958482107</c:v>
                </c:pt>
                <c:pt idx="42">
                  <c:v>0.43620648749187863</c:v>
                </c:pt>
                <c:pt idx="43">
                  <c:v>0.61668244788935667</c:v>
                </c:pt>
                <c:pt idx="44">
                  <c:v>0.60990628477173903</c:v>
                </c:pt>
                <c:pt idx="45">
                  <c:v>0.40873908142024612</c:v>
                </c:pt>
                <c:pt idx="46">
                  <c:v>0.40975420465891327</c:v>
                </c:pt>
                <c:pt idx="47">
                  <c:v>0.47393284779864692</c:v>
                </c:pt>
                <c:pt idx="48">
                  <c:v>0.65651807831856057</c:v>
                </c:pt>
                <c:pt idx="49">
                  <c:v>0.36137942414228119</c:v>
                </c:pt>
                <c:pt idx="50">
                  <c:v>0.57768376086990469</c:v>
                </c:pt>
                <c:pt idx="51">
                  <c:v>0.48757931552307632</c:v>
                </c:pt>
                <c:pt idx="52">
                  <c:v>0.51953129428256561</c:v>
                </c:pt>
                <c:pt idx="53">
                  <c:v>0.37432147225124562</c:v>
                </c:pt>
                <c:pt idx="54">
                  <c:v>0.38007990556800647</c:v>
                </c:pt>
                <c:pt idx="55">
                  <c:v>0.46025114412969192</c:v>
                </c:pt>
                <c:pt idx="56">
                  <c:v>0.4314943559325084</c:v>
                </c:pt>
                <c:pt idx="57">
                  <c:v>0.51944987120598696</c:v>
                </c:pt>
                <c:pt idx="58">
                  <c:v>0.40072464085010945</c:v>
                </c:pt>
                <c:pt idx="59">
                  <c:v>0.30036873304392964</c:v>
                </c:pt>
                <c:pt idx="60">
                  <c:v>0</c:v>
                </c:pt>
                <c:pt idx="61">
                  <c:v>0.24725826356113542</c:v>
                </c:pt>
                <c:pt idx="62">
                  <c:v>0.30006738833610608</c:v>
                </c:pt>
                <c:pt idx="63">
                  <c:v>0.22846231466114311</c:v>
                </c:pt>
                <c:pt idx="64">
                  <c:v>0.3834681750496618</c:v>
                </c:pt>
                <c:pt idx="65">
                  <c:v>0.12527098202756368</c:v>
                </c:pt>
                <c:pt idx="66">
                  <c:v>0.2991134794616328</c:v>
                </c:pt>
                <c:pt idx="67">
                  <c:v>0.49864390043393525</c:v>
                </c:pt>
                <c:pt idx="68">
                  <c:v>0.37879669973448871</c:v>
                </c:pt>
                <c:pt idx="69">
                  <c:v>0.2581876381308964</c:v>
                </c:pt>
                <c:pt idx="70">
                  <c:v>0.16100513299624453</c:v>
                </c:pt>
                <c:pt idx="71">
                  <c:v>0.22260721109798162</c:v>
                </c:pt>
                <c:pt idx="72">
                  <c:v>0.29703280323919296</c:v>
                </c:pt>
                <c:pt idx="73">
                  <c:v>0.33637870860827823</c:v>
                </c:pt>
                <c:pt idx="74">
                  <c:v>0.31753639800323519</c:v>
                </c:pt>
                <c:pt idx="75">
                  <c:v>0.32489860107936608</c:v>
                </c:pt>
                <c:pt idx="76">
                  <c:v>0.53685450893601183</c:v>
                </c:pt>
                <c:pt idx="77">
                  <c:v>0.37277884190217248</c:v>
                </c:pt>
                <c:pt idx="78">
                  <c:v>0.42007639821392517</c:v>
                </c:pt>
                <c:pt idx="79">
                  <c:v>0.43542746236342594</c:v>
                </c:pt>
                <c:pt idx="80">
                  <c:v>0.30397964368724784</c:v>
                </c:pt>
                <c:pt idx="81">
                  <c:v>0.38299002598645826</c:v>
                </c:pt>
                <c:pt idx="82">
                  <c:v>0.49491972214843738</c:v>
                </c:pt>
                <c:pt idx="83">
                  <c:v>0.33413813563327255</c:v>
                </c:pt>
                <c:pt idx="84">
                  <c:v>0.25106506508543031</c:v>
                </c:pt>
                <c:pt idx="85">
                  <c:v>0.44880763967836101</c:v>
                </c:pt>
                <c:pt idx="86">
                  <c:v>0.34075414281563343</c:v>
                </c:pt>
                <c:pt idx="87">
                  <c:v>0.26446866820069392</c:v>
                </c:pt>
                <c:pt idx="88">
                  <c:v>0.38135290019782375</c:v>
                </c:pt>
                <c:pt idx="89">
                  <c:v>0.3523079982758634</c:v>
                </c:pt>
                <c:pt idx="90">
                  <c:v>0.32329303046052255</c:v>
                </c:pt>
                <c:pt idx="91">
                  <c:v>0.28347226582684798</c:v>
                </c:pt>
                <c:pt idx="92">
                  <c:v>0.43813623674439006</c:v>
                </c:pt>
                <c:pt idx="93">
                  <c:v>0.347561206233233</c:v>
                </c:pt>
                <c:pt idx="94">
                  <c:v>0.42136353393325382</c:v>
                </c:pt>
                <c:pt idx="95">
                  <c:v>0.42231788278595117</c:v>
                </c:pt>
                <c:pt idx="96">
                  <c:v>0.49444157456136162</c:v>
                </c:pt>
                <c:pt idx="97">
                  <c:v>0.45601292754796796</c:v>
                </c:pt>
                <c:pt idx="98">
                  <c:v>0.47806851700641462</c:v>
                </c:pt>
                <c:pt idx="99">
                  <c:v>0.55142785081017509</c:v>
                </c:pt>
                <c:pt idx="100">
                  <c:v>0.5015675389280575</c:v>
                </c:pt>
                <c:pt idx="101">
                  <c:v>0.58569879510818856</c:v>
                </c:pt>
              </c:numCache>
            </c:numRef>
          </c:yVal>
          <c:smooth val="0"/>
          <c:extLst xmlns:c16r2="http://schemas.microsoft.com/office/drawing/2015/06/chart">
            <c:ext xmlns:c16="http://schemas.microsoft.com/office/drawing/2014/chart" uri="{C3380CC4-5D6E-409C-BE32-E72D297353CC}">
              <c16:uniqueId val="{00000068-4169-4ACD-B2D3-1C6462EB1DB5}"/>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showLegendKey val="0"/>
          <c:showVal val="0"/>
          <c:showCatName val="0"/>
          <c:showSerName val="0"/>
          <c:showPercent val="0"/>
          <c:showBubbleSize val="0"/>
        </c:dLbls>
        <c:axId val="230496680"/>
        <c:axId val="230478256"/>
      </c:scatterChart>
      <c:valAx>
        <c:axId val="230496680"/>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8256"/>
        <c:crosses val="autoZero"/>
        <c:crossBetween val="midCat"/>
      </c:valAx>
      <c:valAx>
        <c:axId val="230478256"/>
        <c:scaling>
          <c:orientation val="minMax"/>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Property</a:t>
                </a:r>
                <a:r>
                  <a:rPr lang="en-SG" sz="1100" baseline="0"/>
                  <a:t> Rights</a:t>
                </a:r>
                <a:endParaRPr lang="en-SG" sz="1100"/>
              </a:p>
            </c:rich>
          </c:tx>
          <c:layout>
            <c:manualLayout>
              <c:xMode val="edge"/>
              <c:yMode val="edge"/>
              <c:x val="8.3800837602659075E-3"/>
              <c:y val="0.40780392214616956"/>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96680"/>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732702368260306E-2"/>
          <c:y val="0.12669009611096782"/>
          <c:w val="0.90164721103369927"/>
          <c:h val="0.76142228725347705"/>
        </c:manualLayout>
      </c:layout>
      <c:scatterChart>
        <c:scatterStyle val="lineMarker"/>
        <c:varyColors val="0"/>
        <c:ser>
          <c:idx val="0"/>
          <c:order val="0"/>
          <c:tx>
            <c:v>Correlation between Anti-Corruption and Robust Laws &amp; Policies Pillar</c:v>
          </c:tx>
          <c:spPr>
            <a:ln w="25400" cap="rnd">
              <a:noFill/>
              <a:round/>
            </a:ln>
            <a:effectLst/>
          </c:spPr>
          <c:marker>
            <c:symbol val="circle"/>
            <c:size val="3"/>
            <c:spPr>
              <a:solidFill>
                <a:srgbClr val="002060"/>
              </a:solidFill>
              <a:ln w="9525">
                <a:noFill/>
              </a:ln>
              <a:effectLst/>
            </c:spPr>
          </c:marker>
          <c:dLbls>
            <c:dLbl>
              <c:idx val="0"/>
              <c:layout>
                <c:manualLayout>
                  <c:x val="-1.8856973828256306E-3"/>
                  <c:y val="-2.8234984444290106E-2"/>
                </c:manualLayout>
              </c:layout>
              <c:tx>
                <c:rich>
                  <a:bodyPr/>
                  <a:lstStyle/>
                  <a:p>
                    <a:fld id="{B72BC84F-9089-44C5-9A42-C4D98367DEF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3133-4861-91F9-D88EEC0153F0}"/>
                </c:ext>
                <c:ext xmlns:c15="http://schemas.microsoft.com/office/drawing/2012/chart" uri="{CE6537A1-D6FC-4f65-9D91-7224C49458BB}">
                  <c15:layout/>
                  <c15:dlblFieldTable/>
                  <c15:showDataLabelsRange val="1"/>
                </c:ext>
              </c:extLst>
            </c:dLbl>
            <c:dLbl>
              <c:idx val="1"/>
              <c:layout>
                <c:manualLayout>
                  <c:x val="0"/>
                  <c:y val="-9.5557757199314156E-2"/>
                </c:manualLayout>
              </c:layout>
              <c:tx>
                <c:rich>
                  <a:bodyPr/>
                  <a:lstStyle/>
                  <a:p>
                    <a:fld id="{E2D97D17-66CF-40EF-B210-601F5134A33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3133-4861-91F9-D88EEC0153F0}"/>
                </c:ext>
                <c:ext xmlns:c15="http://schemas.microsoft.com/office/drawing/2012/chart" uri="{CE6537A1-D6FC-4f65-9D91-7224C49458BB}">
                  <c15:layout/>
                  <c15:dlblFieldTable/>
                  <c15:showDataLabelsRange val="1"/>
                </c:ext>
              </c:extLst>
            </c:dLbl>
            <c:dLbl>
              <c:idx val="2"/>
              <c:layout/>
              <c:tx>
                <c:rich>
                  <a:bodyPr/>
                  <a:lstStyle/>
                  <a:p>
                    <a:fld id="{0654C259-9A34-4D32-955A-B5E7045C332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E2CA5394-E266-4A78-BA9A-579503CF89D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44286AF3-3A48-46EE-A78E-3CAE8E20C31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5FC1C536-CB1D-4C6A-8A2F-997DF4411A3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787FF3F0-4C8A-4F6A-ABCC-3852FCD7657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manualLayout>
                  <c:x val="-2.9612368367299882E-2"/>
                  <c:y val="5.3016637846256209E-2"/>
                </c:manualLayout>
              </c:layout>
              <c:tx>
                <c:rich>
                  <a:bodyPr/>
                  <a:lstStyle/>
                  <a:p>
                    <a:fld id="{DC3FF4D5-377D-4C78-AD8B-F93A1FEE052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3133-4861-91F9-D88EEC0153F0}"/>
                </c:ext>
                <c:ext xmlns:c15="http://schemas.microsoft.com/office/drawing/2012/chart" uri="{CE6537A1-D6FC-4f65-9D91-7224C49458BB}">
                  <c15:layout/>
                  <c15:dlblFieldTable/>
                  <c15:showDataLabelsRange val="1"/>
                </c:ext>
              </c:extLst>
            </c:dLbl>
            <c:dLbl>
              <c:idx val="8"/>
              <c:layout>
                <c:manualLayout>
                  <c:x val="2.1889739408932178E-3"/>
                  <c:y val="-4.6806783824986403E-2"/>
                </c:manualLayout>
              </c:layout>
              <c:tx>
                <c:rich>
                  <a:bodyPr/>
                  <a:lstStyle/>
                  <a:p>
                    <a:fld id="{112CD747-0873-496A-95AE-013C4CD324D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3133-4861-91F9-D88EEC0153F0}"/>
                </c:ext>
                <c:ext xmlns:c15="http://schemas.microsoft.com/office/drawing/2012/chart" uri="{CE6537A1-D6FC-4f65-9D91-7224C49458BB}">
                  <c15:layout/>
                  <c15:dlblFieldTable/>
                  <c15:showDataLabelsRange val="1"/>
                </c:ext>
              </c:extLst>
            </c:dLbl>
            <c:dLbl>
              <c:idx val="9"/>
              <c:layout/>
              <c:tx>
                <c:rich>
                  <a:bodyPr/>
                  <a:lstStyle/>
                  <a:p>
                    <a:fld id="{DD04F51D-C0F7-45E1-9073-A6AAB08F930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0"/>
                  <c:y val="5.0695162923669171E-2"/>
                </c:manualLayout>
              </c:layout>
              <c:tx>
                <c:rich>
                  <a:bodyPr/>
                  <a:lstStyle/>
                  <a:p>
                    <a:fld id="{FBF8C9A6-FF1A-4D22-A3E5-594803D631A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3133-4861-91F9-D88EEC0153F0}"/>
                </c:ext>
                <c:ext xmlns:c15="http://schemas.microsoft.com/office/drawing/2012/chart" uri="{CE6537A1-D6FC-4f65-9D91-7224C49458BB}">
                  <c15:layout/>
                  <c15:dlblFieldTable/>
                  <c15:showDataLabelsRange val="1"/>
                </c:ext>
              </c:extLst>
            </c:dLbl>
            <c:dLbl>
              <c:idx val="11"/>
              <c:layout>
                <c:manualLayout>
                  <c:x val="-4.3993957062983757E-2"/>
                  <c:y val="-6.0735633360508606E-2"/>
                </c:manualLayout>
              </c:layout>
              <c:tx>
                <c:rich>
                  <a:bodyPr/>
                  <a:lstStyle/>
                  <a:p>
                    <a:fld id="{C537157C-3A5E-4A72-9838-77E4448D0D4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3133-4861-91F9-D88EEC0153F0}"/>
                </c:ext>
                <c:ext xmlns:c15="http://schemas.microsoft.com/office/drawing/2012/chart" uri="{CE6537A1-D6FC-4f65-9D91-7224C49458BB}">
                  <c15:layout/>
                  <c15:dlblFieldTable/>
                  <c15:showDataLabelsRange val="1"/>
                </c:ext>
              </c:extLst>
            </c:dLbl>
            <c:dLbl>
              <c:idx val="12"/>
              <c:layout/>
              <c:tx>
                <c:rich>
                  <a:bodyPr/>
                  <a:lstStyle/>
                  <a:p>
                    <a:fld id="{41EAA56A-8A58-44D6-9122-7DFCF7CFD18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manualLayout>
                  <c:x val="1.1662399945109519E-2"/>
                  <c:y val="-3.7520884134638235E-2"/>
                </c:manualLayout>
              </c:layout>
              <c:tx>
                <c:rich>
                  <a:bodyPr/>
                  <a:lstStyle/>
                  <a:p>
                    <a:fld id="{F08D5B8D-D73B-4342-8E8B-311CE918C82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D-3133-4861-91F9-D88EEC0153F0}"/>
                </c:ext>
                <c:ext xmlns:c15="http://schemas.microsoft.com/office/drawing/2012/chart" uri="{CE6537A1-D6FC-4f65-9D91-7224C49458BB}">
                  <c15:layout/>
                  <c15:dlblFieldTable/>
                  <c15:showDataLabelsRange val="1"/>
                </c:ext>
              </c:extLst>
            </c:dLbl>
            <c:dLbl>
              <c:idx val="14"/>
              <c:layout>
                <c:manualLayout>
                  <c:x val="-4.829548357160604E-2"/>
                  <c:y val="-2.3592034599116032E-2"/>
                </c:manualLayout>
              </c:layout>
              <c:tx>
                <c:rich>
                  <a:bodyPr/>
                  <a:lstStyle/>
                  <a:p>
                    <a:fld id="{799D9110-B3ED-4F58-938D-657F09A0D21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3133-4861-91F9-D88EEC0153F0}"/>
                </c:ext>
                <c:ext xmlns:c15="http://schemas.microsoft.com/office/drawing/2012/chart" uri="{CE6537A1-D6FC-4f65-9D91-7224C49458BB}">
                  <c15:layout/>
                  <c15:dlblFieldTable/>
                  <c15:showDataLabelsRange val="1"/>
                </c:ext>
              </c:extLst>
            </c:dLbl>
            <c:dLbl>
              <c:idx val="15"/>
              <c:layout>
                <c:manualLayout>
                  <c:x val="-1.0884397139614456E-2"/>
                  <c:y val="6.6945487381778426E-2"/>
                </c:manualLayout>
              </c:layout>
              <c:tx>
                <c:rich>
                  <a:bodyPr/>
                  <a:lstStyle/>
                  <a:p>
                    <a:fld id="{9A83ED7B-FAFA-4937-9486-F9AF6A6C704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3133-4861-91F9-D88EEC0153F0}"/>
                </c:ext>
                <c:ext xmlns:c15="http://schemas.microsoft.com/office/drawing/2012/chart" uri="{CE6537A1-D6FC-4f65-9D91-7224C49458BB}">
                  <c15:layout/>
                  <c15:dlblFieldTable/>
                  <c15:showDataLabelsRange val="1"/>
                </c:ext>
              </c:extLst>
            </c:dLbl>
            <c:dLbl>
              <c:idx val="16"/>
              <c:layout/>
              <c:tx>
                <c:rich>
                  <a:bodyPr/>
                  <a:lstStyle/>
                  <a:p>
                    <a:fld id="{C06F31CC-4845-4813-83F6-E85CD526E39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1CC86CBF-A960-4992-954D-985497A0FB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tx>
                <c:rich>
                  <a:bodyPr/>
                  <a:lstStyle/>
                  <a:p>
                    <a:fld id="{EEC1403A-DF7D-41F6-ADE3-5F5F8C87230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9"/>
              <c:layout/>
              <c:tx>
                <c:rich>
                  <a:bodyPr/>
                  <a:lstStyle/>
                  <a:p>
                    <a:fld id="{350D4D30-5795-4F86-A0DF-3889D40D8B0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E61548C6-23E5-47D6-A7A2-E97F03C4733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1.3840907480547646E-2"/>
                  <c:y val="3.9087788310734034E-2"/>
                </c:manualLayout>
              </c:layout>
              <c:tx>
                <c:rich>
                  <a:bodyPr/>
                  <a:lstStyle/>
                  <a:p>
                    <a:fld id="{1240E644-8F01-46BA-A304-1F333A5C931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3133-4861-91F9-D88EEC0153F0}"/>
                </c:ext>
                <c:ext xmlns:c15="http://schemas.microsoft.com/office/drawing/2012/chart" uri="{CE6537A1-D6FC-4f65-9D91-7224C49458BB}">
                  <c15:layout/>
                  <c15:dlblFieldTable/>
                  <c15:showDataLabelsRange val="1"/>
                </c:ext>
              </c:extLst>
            </c:dLbl>
            <c:dLbl>
              <c:idx val="22"/>
              <c:layout/>
              <c:tx>
                <c:rich>
                  <a:bodyPr/>
                  <a:lstStyle/>
                  <a:p>
                    <a:fld id="{46383228-D387-494A-9483-63FF22B1BAC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7D19D17C-C3F9-4665-A982-B0C08185C90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4117399C-487A-4B11-9A12-D1D0048E082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manualLayout>
                  <c:x val="-4.5083210830702818E-2"/>
                  <c:y val="-7.4664482896030823E-2"/>
                </c:manualLayout>
              </c:layout>
              <c:tx>
                <c:rich>
                  <a:bodyPr/>
                  <a:lstStyle/>
                  <a:p>
                    <a:fld id="{27810B48-7566-4F46-A92E-64772D27000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3133-4861-91F9-D88EEC0153F0}"/>
                </c:ext>
                <c:ext xmlns:c15="http://schemas.microsoft.com/office/drawing/2012/chart" uri="{CE6537A1-D6FC-4f65-9D91-7224C49458BB}">
                  <c15:layout/>
                  <c15:dlblFieldTable/>
                  <c15:showDataLabelsRange val="1"/>
                </c:ext>
              </c:extLst>
            </c:dLbl>
            <c:dLbl>
              <c:idx val="26"/>
              <c:layout/>
              <c:tx>
                <c:rich>
                  <a:bodyPr/>
                  <a:lstStyle/>
                  <a:p>
                    <a:fld id="{F69E5E89-22F5-4D71-8130-3FEFE6BE659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E440DC65-A93D-4DA0-BDC8-743734D20DE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332175D2-37DA-4E72-8975-15A9E4AA529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ACC73D63-9C8D-46D9-86D2-EC0EA07DCF1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C6252C4F-9C1E-43F6-BE31-34274617B62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2.3095452704016771E-2"/>
                  <c:y val="2.9801888620385839E-2"/>
                </c:manualLayout>
              </c:layout>
              <c:tx>
                <c:rich>
                  <a:bodyPr/>
                  <a:lstStyle/>
                  <a:p>
                    <a:fld id="{BB8C1D73-CF3A-40E3-9D3A-3E988F1838B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3133-4861-91F9-D88EEC0153F0}"/>
                </c:ext>
                <c:ext xmlns:c15="http://schemas.microsoft.com/office/drawing/2012/chart" uri="{CE6537A1-D6FC-4f65-9D91-7224C49458BB}">
                  <c15:layout/>
                  <c15:dlblFieldTable/>
                  <c15:showDataLabelsRange val="1"/>
                </c:ext>
              </c:extLst>
            </c:dLbl>
            <c:dLbl>
              <c:idx val="32"/>
              <c:layout/>
              <c:tx>
                <c:rich>
                  <a:bodyPr/>
                  <a:lstStyle/>
                  <a:p>
                    <a:fld id="{A31A1A57-984F-4AAE-901B-145895411C2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tx>
                <c:rich>
                  <a:bodyPr/>
                  <a:lstStyle/>
                  <a:p>
                    <a:fld id="{8C281DE8-7B4E-463E-AD3C-B990581AE52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4"/>
              <c:layout>
                <c:manualLayout>
                  <c:x val="-2.4343921795793616E-2"/>
                  <c:y val="-7.4312141792969744E-2"/>
                </c:manualLayout>
              </c:layout>
              <c:tx>
                <c:rich>
                  <a:bodyPr/>
                  <a:lstStyle/>
                  <a:p>
                    <a:fld id="{07BAEE5C-F174-4266-A178-831F54F10FF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3133-4861-91F9-D88EEC0153F0}"/>
                </c:ext>
                <c:ext xmlns:c15="http://schemas.microsoft.com/office/drawing/2012/chart" uri="{CE6537A1-D6FC-4f65-9D91-7224C49458BB}">
                  <c15:layout/>
                  <c15:dlblFieldTable/>
                  <c15:showDataLabelsRange val="1"/>
                </c:ext>
              </c:extLst>
            </c:dLbl>
            <c:dLbl>
              <c:idx val="35"/>
              <c:layout>
                <c:manualLayout>
                  <c:x val="-1.7351223576791062E-2"/>
                  <c:y val="-7.0021533050856746E-2"/>
                </c:manualLayout>
              </c:layout>
              <c:tx>
                <c:rich>
                  <a:bodyPr/>
                  <a:lstStyle/>
                  <a:p>
                    <a:fld id="{D2D3D1B8-1242-4ED0-B831-CF87B113058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3-3133-4861-91F9-D88EEC0153F0}"/>
                </c:ext>
                <c:ext xmlns:c15="http://schemas.microsoft.com/office/drawing/2012/chart" uri="{CE6537A1-D6FC-4f65-9D91-7224C49458BB}">
                  <c15:layout/>
                  <c15:dlblFieldTable/>
                  <c15:showDataLabelsRange val="1"/>
                </c:ext>
              </c:extLst>
            </c:dLbl>
            <c:dLbl>
              <c:idx val="36"/>
              <c:layout>
                <c:manualLayout>
                  <c:x val="-8.7070110047608007E-2"/>
                  <c:y val="-2.591350952170305E-2"/>
                </c:manualLayout>
              </c:layout>
              <c:tx>
                <c:rich>
                  <a:bodyPr/>
                  <a:lstStyle/>
                  <a:p>
                    <a:fld id="{575C0CC9-62F1-4FFA-A58E-267C598E34D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3133-4861-91F9-D88EEC0153F0}"/>
                </c:ext>
                <c:ext xmlns:c15="http://schemas.microsoft.com/office/drawing/2012/chart" uri="{CE6537A1-D6FC-4f65-9D91-7224C49458BB}">
                  <c15:layout/>
                  <c15:dlblFieldTable/>
                  <c15:showDataLabelsRange val="1"/>
                </c:ext>
              </c:extLst>
            </c:dLbl>
            <c:dLbl>
              <c:idx val="37"/>
              <c:layout/>
              <c:tx>
                <c:rich>
                  <a:bodyPr/>
                  <a:lstStyle/>
                  <a:p>
                    <a:fld id="{397BFA05-181C-41C6-A908-DDD9455393A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8"/>
              <c:layout/>
              <c:tx>
                <c:rich>
                  <a:bodyPr/>
                  <a:lstStyle/>
                  <a:p>
                    <a:fld id="{62A73FAD-619C-42AC-8682-3A16E429293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manualLayout>
                  <c:x val="-3.2579428180397968E-2"/>
                  <c:y val="-2.5913509521703092E-2"/>
                </c:manualLayout>
              </c:layout>
              <c:tx>
                <c:rich>
                  <a:bodyPr/>
                  <a:lstStyle/>
                  <a:p>
                    <a:fld id="{0FFBEBE2-9B29-47A4-85F0-B463E981E5A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3133-4861-91F9-D88EEC0153F0}"/>
                </c:ext>
                <c:ext xmlns:c15="http://schemas.microsoft.com/office/drawing/2012/chart" uri="{CE6537A1-D6FC-4f65-9D91-7224C49458BB}">
                  <c15:layout/>
                  <c15:dlblFieldTable/>
                  <c15:showDataLabelsRange val="1"/>
                </c:ext>
              </c:extLst>
            </c:dLbl>
            <c:dLbl>
              <c:idx val="40"/>
              <c:layout>
                <c:manualLayout>
                  <c:x val="-5.0453058296133597E-3"/>
                  <c:y val="-2.1270559676528973E-2"/>
                </c:manualLayout>
              </c:layout>
              <c:tx>
                <c:rich>
                  <a:bodyPr/>
                  <a:lstStyle/>
                  <a:p>
                    <a:fld id="{369E7E69-4B72-4B0E-89D4-B3F3AD35870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8-3133-4861-91F9-D88EEC0153F0}"/>
                </c:ext>
                <c:ext xmlns:c15="http://schemas.microsoft.com/office/drawing/2012/chart" uri="{CE6537A1-D6FC-4f65-9D91-7224C49458BB}">
                  <c15:layout/>
                  <c15:dlblFieldTable/>
                  <c15:showDataLabelsRange val="1"/>
                </c:ext>
              </c:extLst>
            </c:dLbl>
            <c:dLbl>
              <c:idx val="41"/>
              <c:layout/>
              <c:tx>
                <c:rich>
                  <a:bodyPr/>
                  <a:lstStyle/>
                  <a:p>
                    <a:fld id="{F9E6C66D-0840-4B63-A172-5088397E231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1.5961351385723046E-2"/>
                  <c:y val="1.8194514007450657E-2"/>
                </c:manualLayout>
              </c:layout>
              <c:tx>
                <c:rich>
                  <a:bodyPr/>
                  <a:lstStyle/>
                  <a:p>
                    <a:fld id="{1C5A765C-CCBC-4F3F-8B24-044DF5B7CA3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3133-4861-91F9-D88EEC0153F0}"/>
                </c:ext>
                <c:ext xmlns:c15="http://schemas.microsoft.com/office/drawing/2012/chart" uri="{CE6537A1-D6FC-4f65-9D91-7224C49458BB}">
                  <c15:layout/>
                  <c15:dlblFieldTable/>
                  <c15:showDataLabelsRange val="1"/>
                </c:ext>
              </c:extLst>
            </c:dLbl>
            <c:dLbl>
              <c:idx val="43"/>
              <c:layout>
                <c:manualLayout>
                  <c:x val="-1.3999149563023418E-2"/>
                  <c:y val="7.3909912149539542E-2"/>
                </c:manualLayout>
              </c:layout>
              <c:tx>
                <c:rich>
                  <a:bodyPr/>
                  <a:lstStyle/>
                  <a:p>
                    <a:fld id="{6C4296FA-FFA0-4C59-9105-7974BB121C2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B-3133-4861-91F9-D88EEC0153F0}"/>
                </c:ext>
                <c:ext xmlns:c15="http://schemas.microsoft.com/office/drawing/2012/chart" uri="{CE6537A1-D6FC-4f65-9D91-7224C49458BB}">
                  <c15:layout/>
                  <c15:dlblFieldTable/>
                  <c15:showDataLabelsRange val="1"/>
                </c:ext>
              </c:extLst>
            </c:dLbl>
            <c:dLbl>
              <c:idx val="44"/>
              <c:layout>
                <c:manualLayout>
                  <c:x val="-3.1151853112412912E-2"/>
                  <c:y val="-3.0703011110252018E-2"/>
                </c:manualLayout>
              </c:layout>
              <c:tx>
                <c:rich>
                  <a:bodyPr/>
                  <a:lstStyle/>
                  <a:p>
                    <a:fld id="{56BD8E65-FC54-4D42-BD07-BA6787DD986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3133-4861-91F9-D88EEC0153F0}"/>
                </c:ext>
                <c:ext xmlns:c15="http://schemas.microsoft.com/office/drawing/2012/chart" uri="{CE6537A1-D6FC-4f65-9D91-7224C49458BB}">
                  <c15:layout/>
                  <c15:dlblFieldTable/>
                  <c15:showDataLabelsRange val="1"/>
                </c:ext>
              </c:extLst>
            </c:dLbl>
            <c:dLbl>
              <c:idx val="45"/>
              <c:layout>
                <c:manualLayout>
                  <c:x val="-0.10619383355234538"/>
                  <c:y val="-6.1593795637116117E-2"/>
                </c:manualLayout>
              </c:layout>
              <c:tx>
                <c:rich>
                  <a:bodyPr/>
                  <a:lstStyle/>
                  <a:p>
                    <a:fld id="{82F28A58-57B7-42EC-805E-917C28FA217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3133-4861-91F9-D88EEC0153F0}"/>
                </c:ext>
                <c:ext xmlns:c15="http://schemas.microsoft.com/office/drawing/2012/chart" uri="{CE6537A1-D6FC-4f65-9D91-7224C49458BB}">
                  <c15:layout/>
                  <c15:dlblFieldTable/>
                  <c15:showDataLabelsRange val="1"/>
                </c:ext>
              </c:extLst>
            </c:dLbl>
            <c:dLbl>
              <c:idx val="46"/>
              <c:layout/>
              <c:tx>
                <c:rich>
                  <a:bodyPr/>
                  <a:lstStyle/>
                  <a:p>
                    <a:fld id="{FC647D4F-37DB-48B0-A1DE-B80DAED5D84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7"/>
              <c:layout>
                <c:manualLayout>
                  <c:x val="-9.4610951203514416E-3"/>
                  <c:y val="2.1979235768691638E-2"/>
                </c:manualLayout>
              </c:layout>
              <c:tx>
                <c:rich>
                  <a:bodyPr/>
                  <a:lstStyle/>
                  <a:p>
                    <a:fld id="{CB2995D6-0406-438A-880F-D2FB859B283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3133-4861-91F9-D88EEC0153F0}"/>
                </c:ext>
                <c:ext xmlns:c15="http://schemas.microsoft.com/office/drawing/2012/chart" uri="{CE6537A1-D6FC-4f65-9D91-7224C49458BB}">
                  <c15:layout/>
                  <c15:dlblFieldTable/>
                  <c15:showDataLabelsRange val="1"/>
                </c:ext>
              </c:extLst>
            </c:dLbl>
            <c:dLbl>
              <c:idx val="48"/>
              <c:layout>
                <c:manualLayout>
                  <c:x val="-1.6465067914926731E-2"/>
                  <c:y val="-2.591350952170305E-2"/>
                </c:manualLayout>
              </c:layout>
              <c:tx>
                <c:rich>
                  <a:bodyPr/>
                  <a:lstStyle/>
                  <a:p>
                    <a:fld id="{1BA70DF3-5A3F-426C-9F9F-C85F1EFC187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0-3133-4861-91F9-D88EEC0153F0}"/>
                </c:ext>
                <c:ext xmlns:c15="http://schemas.microsoft.com/office/drawing/2012/chart" uri="{CE6537A1-D6FC-4f65-9D91-7224C49458BB}">
                  <c15:layout/>
                  <c15:dlblFieldTable/>
                  <c15:showDataLabelsRange val="1"/>
                </c:ext>
              </c:extLst>
            </c:dLbl>
            <c:dLbl>
              <c:idx val="49"/>
              <c:layout>
                <c:manualLayout>
                  <c:x val="-6.7657029385180964E-2"/>
                  <c:y val="-4.8952118211920602E-2"/>
                </c:manualLayout>
              </c:layout>
              <c:tx>
                <c:rich>
                  <a:bodyPr/>
                  <a:lstStyle/>
                  <a:p>
                    <a:fld id="{9F0B367B-27E0-4E09-AD95-9EB6D183E49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3133-4861-91F9-D88EEC0153F0}"/>
                </c:ext>
                <c:ext xmlns:c15="http://schemas.microsoft.com/office/drawing/2012/chart" uri="{CE6537A1-D6FC-4f65-9D91-7224C49458BB}">
                  <c15:layout/>
                  <c15:dlblFieldTable/>
                  <c15:showDataLabelsRange val="1"/>
                </c:ext>
              </c:extLst>
            </c:dLbl>
            <c:dLbl>
              <c:idx val="50"/>
              <c:layout>
                <c:manualLayout>
                  <c:x val="1.490133709991023E-3"/>
                  <c:y val="-2.6987602958326784E-3"/>
                </c:manualLayout>
              </c:layout>
              <c:tx>
                <c:rich>
                  <a:bodyPr/>
                  <a:lstStyle/>
                  <a:p>
                    <a:fld id="{5EF93A8B-DAE6-498E-9CF6-10556BF6958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2-3133-4861-91F9-D88EEC0153F0}"/>
                </c:ext>
                <c:ext xmlns:c15="http://schemas.microsoft.com/office/drawing/2012/chart" uri="{CE6537A1-D6FC-4f65-9D91-7224C49458BB}">
                  <c15:layout/>
                  <c15:dlblFieldTable/>
                  <c15:showDataLabelsRange val="1"/>
                </c:ext>
              </c:extLst>
            </c:dLbl>
            <c:dLbl>
              <c:idx val="51"/>
              <c:layout>
                <c:manualLayout>
                  <c:x val="2.9763850164201636E-3"/>
                  <c:y val="-4.1734861769960503E-2"/>
                </c:manualLayout>
              </c:layout>
              <c:tx>
                <c:rich>
                  <a:bodyPr/>
                  <a:lstStyle/>
                  <a:p>
                    <a:fld id="{6E07CC9D-C3E6-48C1-92D6-890570258EC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3-3133-4861-91F9-D88EEC0153F0}"/>
                </c:ext>
                <c:ext xmlns:c15="http://schemas.microsoft.com/office/drawing/2012/chart" uri="{CE6537A1-D6FC-4f65-9D91-7224C49458BB}">
                  <c15:layout/>
                  <c15:dlblFieldTable/>
                  <c15:showDataLabelsRange val="1"/>
                </c:ext>
              </c:extLst>
            </c:dLbl>
            <c:dLbl>
              <c:idx val="52"/>
              <c:layout>
                <c:manualLayout>
                  <c:x val="-2.477805198098736E-2"/>
                  <c:y val="3.6766313388146954E-2"/>
                </c:manualLayout>
              </c:layout>
              <c:tx>
                <c:rich>
                  <a:bodyPr/>
                  <a:lstStyle/>
                  <a:p>
                    <a:fld id="{673CA2F4-B85A-43D7-9608-3FB094F9845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4-3133-4861-91F9-D88EEC0153F0}"/>
                </c:ext>
                <c:ext xmlns:c15="http://schemas.microsoft.com/office/drawing/2012/chart" uri="{CE6537A1-D6FC-4f65-9D91-7224C49458BB}">
                  <c15:layout/>
                  <c15:dlblFieldTable/>
                  <c15:showDataLabelsRange val="1"/>
                </c:ext>
              </c:extLst>
            </c:dLbl>
            <c:dLbl>
              <c:idx val="53"/>
              <c:layout>
                <c:manualLayout>
                  <c:x val="-2.2929319284094543E-2"/>
                  <c:y val="-2.591350952170305E-2"/>
                </c:manualLayout>
              </c:layout>
              <c:tx>
                <c:rich>
                  <a:bodyPr/>
                  <a:lstStyle/>
                  <a:p>
                    <a:fld id="{C7F48230-B3D5-4441-A446-8D4CD2FBF1C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5-3133-4861-91F9-D88EEC0153F0}"/>
                </c:ext>
                <c:ext xmlns:c15="http://schemas.microsoft.com/office/drawing/2012/chart" uri="{CE6537A1-D6FC-4f65-9D91-7224C49458BB}">
                  <c15:layout/>
                  <c15:dlblFieldTable/>
                  <c15:showDataLabelsRange val="1"/>
                </c:ext>
              </c:extLst>
            </c:dLbl>
            <c:dLbl>
              <c:idx val="54"/>
              <c:layout>
                <c:manualLayout>
                  <c:x val="-6.4324402299964639E-2"/>
                  <c:y val="-2.1875711324469648E-2"/>
                </c:manualLayout>
              </c:layout>
              <c:tx>
                <c:rich>
                  <a:bodyPr/>
                  <a:lstStyle/>
                  <a:p>
                    <a:fld id="{8BE0F8F1-566B-4D33-BEFB-0F0E1D89E03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6-3133-4861-91F9-D88EEC0153F0}"/>
                </c:ext>
                <c:ext xmlns:c15="http://schemas.microsoft.com/office/drawing/2012/chart" uri="{CE6537A1-D6FC-4f65-9D91-7224C49458BB}">
                  <c15:layout/>
                  <c15:dlblFieldTable/>
                  <c15:showDataLabelsRange val="1"/>
                </c:ext>
              </c:extLst>
            </c:dLbl>
            <c:dLbl>
              <c:idx val="55"/>
              <c:layout>
                <c:manualLayout>
                  <c:x val="-4.5154611988035859E-2"/>
                  <c:y val="-5.7379830969272516E-2"/>
                </c:manualLayout>
              </c:layout>
              <c:tx>
                <c:rich>
                  <a:bodyPr/>
                  <a:lstStyle/>
                  <a:p>
                    <a:fld id="{DF4ED75F-0AAD-41E0-B79D-8C0A6FAC69B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3133-4861-91F9-D88EEC0153F0}"/>
                </c:ext>
                <c:ext xmlns:c15="http://schemas.microsoft.com/office/drawing/2012/chart" uri="{CE6537A1-D6FC-4f65-9D91-7224C49458BB}">
                  <c15:layout/>
                  <c15:dlblFieldTable/>
                  <c15:showDataLabelsRange val="1"/>
                </c:ext>
              </c:extLst>
            </c:dLbl>
            <c:dLbl>
              <c:idx val="56"/>
              <c:layout>
                <c:manualLayout>
                  <c:x val="-2.8510156192826739E-3"/>
                  <c:y val="2.283746385262473E-2"/>
                </c:manualLayout>
              </c:layout>
              <c:tx>
                <c:rich>
                  <a:bodyPr/>
                  <a:lstStyle/>
                  <a:p>
                    <a:fld id="{9670F36F-B8A9-47F2-84ED-3B6D17FDDFF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8-3133-4861-91F9-D88EEC0153F0}"/>
                </c:ext>
                <c:ext xmlns:c15="http://schemas.microsoft.com/office/drawing/2012/chart" uri="{CE6537A1-D6FC-4f65-9D91-7224C49458BB}">
                  <c15:layout/>
                  <c15:dlblFieldTable/>
                  <c15:showDataLabelsRange val="1"/>
                </c:ext>
              </c:extLst>
            </c:dLbl>
            <c:dLbl>
              <c:idx val="57"/>
              <c:layout/>
              <c:tx>
                <c:rich>
                  <a:bodyPr/>
                  <a:lstStyle/>
                  <a:p>
                    <a:fld id="{BAD95785-4D4D-4FD5-9F9D-8B36465A249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tx>
                <c:rich>
                  <a:bodyPr/>
                  <a:lstStyle/>
                  <a:p>
                    <a:fld id="{19D7078C-DD29-4714-9B1F-67AAC039DB3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2.9394985788634965E-2"/>
                  <c:y val="-3.0703011110252018E-2"/>
                </c:manualLayout>
              </c:layout>
              <c:tx>
                <c:rich>
                  <a:bodyPr/>
                  <a:lstStyle/>
                  <a:p>
                    <a:fld id="{59FD8FC8-2C41-46E1-B9EA-255C53282E5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3133-4861-91F9-D88EEC0153F0}"/>
                </c:ext>
                <c:ext xmlns:c15="http://schemas.microsoft.com/office/drawing/2012/chart" uri="{CE6537A1-D6FC-4f65-9D91-7224C49458BB}">
                  <c15:layout/>
                  <c15:dlblFieldTable/>
                  <c15:showDataLabelsRange val="1"/>
                </c:ext>
              </c:extLst>
            </c:dLbl>
            <c:dLbl>
              <c:idx val="60"/>
              <c:layout/>
              <c:tx>
                <c:rich>
                  <a:bodyPr/>
                  <a:lstStyle/>
                  <a:p>
                    <a:fld id="{14A409C7-771A-4208-A237-B7618A176A6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DB0B3D0A-BED6-4B35-99A6-832A5A10C94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6E20959C-45E3-426B-8E0F-73B214BE7D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592D91BA-24F6-4FD7-8E4C-ECA5EDB7276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3B27048C-7B8E-402E-9C8A-8BDF51CA400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42B7AA29-D590-4B74-9865-FEE15F108AB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804216D2-0F40-4939-8EA7-D5EF3526620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4785A708-109D-4236-8BD6-978E33ECBF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098EDD3D-AEBE-4D86-9D1B-BB63B023C69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91360AB3-F246-4A55-9D8B-B2B84D8A7E6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CAD13A7A-F0BE-4BB1-84F9-7308194F909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E3228DBA-BEA0-4F43-B1C4-82211EE7C51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D33FDCA1-0A81-4117-9B47-B884AF7FAF8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5F286BF8-4ADE-441F-BF09-75D6645ED7D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C7034128-BAAF-4F4A-9FC2-7E077D5443B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A2836CCC-6FA4-4351-8D8B-8DE3E0C108B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336C2E2B-3CF6-4CA1-A706-3B1DF5CCCA7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00E902BE-923B-4406-B7A0-FE7619E0671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EC362792-8391-42BE-8CBA-479FF3C844D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483DCD21-DEA4-476F-A4DC-40641416C40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6C23CD40-658B-4402-BCC4-06C83BC7FEF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CB2EF4FD-5FE2-4694-987E-26DFF742573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CFE0A93C-3DA3-464C-9BE5-B0F5A7D65FF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9C27B291-E354-4123-913A-55778166BC1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C34035AE-0F33-4A59-ADB9-AB46D04FB04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48AFD59F-25BA-4E54-A1CD-030D9D46E41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BD9BA9D3-DFA3-4A29-B996-FF8C59F7618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7F84D563-F1FA-4FE8-86FA-0AB07E7ED18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A570DA2F-24B6-459E-94DC-19C49884177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C7059F16-E7B2-478D-8042-804A7202982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AE390C77-A46A-42C4-ACCC-FE20E03C936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338473F0-3931-44B4-94A1-0A5BA859F38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81EAC7FF-CA43-4278-BAF8-2BF00AA460F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A4E582CA-0E7D-45AC-AFC5-DF1860D7ED3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DCDF370E-C6F2-4828-971C-3117AFA795C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240922F9-4189-42CF-9EEC-5D779E6FC0F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FC9356D1-63C4-44C1-B8F8-B2DBF3ACCC7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0FA56293-888D-479E-9E02-82EBEE804BA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5257FC09-F7AF-4D3C-ACAD-AC477C231B0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46B7D05B-2C57-41B8-8759-A594089CF3E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C99FED4A-02E2-4DBC-8868-F3A974A7E79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B5C1CC6A-8431-4069-A579-1D2595D1527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F$3:$F$104</c:f>
              <c:numCache>
                <c:formatCode>0.000</c:formatCode>
                <c:ptCount val="102"/>
                <c:pt idx="0">
                  <c:v>0.93232971637823203</c:v>
                </c:pt>
                <c:pt idx="1">
                  <c:v>0.92311514485230806</c:v>
                </c:pt>
                <c:pt idx="2">
                  <c:v>0.82124436014282631</c:v>
                </c:pt>
                <c:pt idx="3">
                  <c:v>0.90222963967970682</c:v>
                </c:pt>
                <c:pt idx="4">
                  <c:v>0.856288683558176</c:v>
                </c:pt>
                <c:pt idx="5">
                  <c:v>0.93608815358876063</c:v>
                </c:pt>
                <c:pt idx="6">
                  <c:v>0.91776236831545455</c:v>
                </c:pt>
                <c:pt idx="7">
                  <c:v>0.85237252266293351</c:v>
                </c:pt>
                <c:pt idx="8">
                  <c:v>0.85082492824904721</c:v>
                </c:pt>
                <c:pt idx="9">
                  <c:v>0.71678300213852619</c:v>
                </c:pt>
                <c:pt idx="10">
                  <c:v>0.91190120418525478</c:v>
                </c:pt>
                <c:pt idx="11">
                  <c:v>0.93274635084003998</c:v>
                </c:pt>
                <c:pt idx="12">
                  <c:v>0.63754531870859454</c:v>
                </c:pt>
                <c:pt idx="13">
                  <c:v>0.70082609452604383</c:v>
                </c:pt>
                <c:pt idx="14">
                  <c:v>0.85202402632444008</c:v>
                </c:pt>
                <c:pt idx="15">
                  <c:v>0.85102236207225901</c:v>
                </c:pt>
                <c:pt idx="16">
                  <c:v>0.68033287675313558</c:v>
                </c:pt>
                <c:pt idx="17">
                  <c:v>0.80413519970540825</c:v>
                </c:pt>
                <c:pt idx="18">
                  <c:v>0.84235268393871732</c:v>
                </c:pt>
                <c:pt idx="19">
                  <c:v>0.86528984697625722</c:v>
                </c:pt>
                <c:pt idx="20">
                  <c:v>0.81965141244734274</c:v>
                </c:pt>
                <c:pt idx="21">
                  <c:v>0.69222443769431996</c:v>
                </c:pt>
                <c:pt idx="22">
                  <c:v>0.67473443072281802</c:v>
                </c:pt>
                <c:pt idx="23">
                  <c:v>0.68394407202136986</c:v>
                </c:pt>
                <c:pt idx="24">
                  <c:v>0.5862897942935037</c:v>
                </c:pt>
                <c:pt idx="25">
                  <c:v>0.8696941012104118</c:v>
                </c:pt>
                <c:pt idx="26">
                  <c:v>0.66724312829092536</c:v>
                </c:pt>
                <c:pt idx="27">
                  <c:v>0.56149086729432907</c:v>
                </c:pt>
                <c:pt idx="28">
                  <c:v>0.62030418843748181</c:v>
                </c:pt>
                <c:pt idx="29">
                  <c:v>0.42634505767258768</c:v>
                </c:pt>
                <c:pt idx="30">
                  <c:v>0.77282853666588314</c:v>
                </c:pt>
                <c:pt idx="31">
                  <c:v>0.81232919811192517</c:v>
                </c:pt>
                <c:pt idx="32">
                  <c:v>0.60493013812003027</c:v>
                </c:pt>
                <c:pt idx="33">
                  <c:v>0.65031866540103755</c:v>
                </c:pt>
                <c:pt idx="34">
                  <c:v>0.61794539262188541</c:v>
                </c:pt>
                <c:pt idx="35">
                  <c:v>0.70720469215676962</c:v>
                </c:pt>
                <c:pt idx="36">
                  <c:v>0.59821073037080241</c:v>
                </c:pt>
                <c:pt idx="37">
                  <c:v>0.72297829456413554</c:v>
                </c:pt>
                <c:pt idx="38">
                  <c:v>0.62504613869389747</c:v>
                </c:pt>
                <c:pt idx="39">
                  <c:v>0.59655862338474952</c:v>
                </c:pt>
                <c:pt idx="40">
                  <c:v>0.58376185460724184</c:v>
                </c:pt>
                <c:pt idx="41">
                  <c:v>0.65765454766407649</c:v>
                </c:pt>
                <c:pt idx="42">
                  <c:v>0.45667342268549027</c:v>
                </c:pt>
                <c:pt idx="43">
                  <c:v>0.64785203185154816</c:v>
                </c:pt>
                <c:pt idx="44">
                  <c:v>0.66567437223850778</c:v>
                </c:pt>
                <c:pt idx="45">
                  <c:v>0.60557190771681824</c:v>
                </c:pt>
                <c:pt idx="46">
                  <c:v>0.70240467788639882</c:v>
                </c:pt>
                <c:pt idx="47">
                  <c:v>0.54362301573523708</c:v>
                </c:pt>
                <c:pt idx="48">
                  <c:v>0.5434415788820246</c:v>
                </c:pt>
                <c:pt idx="49">
                  <c:v>0.49929348731674622</c:v>
                </c:pt>
                <c:pt idx="50">
                  <c:v>0.57765420156744529</c:v>
                </c:pt>
                <c:pt idx="51">
                  <c:v>0.60939626116029022</c:v>
                </c:pt>
                <c:pt idx="52">
                  <c:v>0.55252439358923633</c:v>
                </c:pt>
                <c:pt idx="53">
                  <c:v>0.34904381679042745</c:v>
                </c:pt>
                <c:pt idx="54">
                  <c:v>0.49047510246161818</c:v>
                </c:pt>
                <c:pt idx="55">
                  <c:v>0.58882908869928519</c:v>
                </c:pt>
                <c:pt idx="56">
                  <c:v>0.57221488010203037</c:v>
                </c:pt>
                <c:pt idx="57">
                  <c:v>0.4220226030502513</c:v>
                </c:pt>
                <c:pt idx="58">
                  <c:v>0.47031219010295433</c:v>
                </c:pt>
                <c:pt idx="59">
                  <c:v>0.47455270399671218</c:v>
                </c:pt>
                <c:pt idx="60">
                  <c:v>0.05</c:v>
                </c:pt>
                <c:pt idx="61">
                  <c:v>0.2852219944218346</c:v>
                </c:pt>
                <c:pt idx="62">
                  <c:v>0.30143471005805689</c:v>
                </c:pt>
                <c:pt idx="63">
                  <c:v>0.30836849564254465</c:v>
                </c:pt>
                <c:pt idx="64">
                  <c:v>0.33077891957238076</c:v>
                </c:pt>
                <c:pt idx="65">
                  <c:v>0.24279381341948736</c:v>
                </c:pt>
                <c:pt idx="66">
                  <c:v>0.34989249053328147</c:v>
                </c:pt>
                <c:pt idx="67">
                  <c:v>0.40372176354946504</c:v>
                </c:pt>
                <c:pt idx="68">
                  <c:v>0.25263486933924684</c:v>
                </c:pt>
                <c:pt idx="69">
                  <c:v>0.34957517848764225</c:v>
                </c:pt>
                <c:pt idx="70">
                  <c:v>0.35062593393117936</c:v>
                </c:pt>
                <c:pt idx="71">
                  <c:v>0.35813521597988363</c:v>
                </c:pt>
                <c:pt idx="72">
                  <c:v>0.47460638954512913</c:v>
                </c:pt>
                <c:pt idx="73">
                  <c:v>0.51275506362868439</c:v>
                </c:pt>
                <c:pt idx="74">
                  <c:v>0.3607922024677116</c:v>
                </c:pt>
                <c:pt idx="75">
                  <c:v>0.49334157329965911</c:v>
                </c:pt>
                <c:pt idx="76">
                  <c:v>0.39150978380882517</c:v>
                </c:pt>
                <c:pt idx="77">
                  <c:v>0.32024899975888099</c:v>
                </c:pt>
                <c:pt idx="78">
                  <c:v>0.40236417816915815</c:v>
                </c:pt>
                <c:pt idx="79">
                  <c:v>0.55810936096564856</c:v>
                </c:pt>
                <c:pt idx="80">
                  <c:v>0.53036062916266091</c:v>
                </c:pt>
                <c:pt idx="81">
                  <c:v>0.48264849076822058</c:v>
                </c:pt>
                <c:pt idx="82">
                  <c:v>0.41056108094073412</c:v>
                </c:pt>
                <c:pt idx="83">
                  <c:v>0.42129056962303185</c:v>
                </c:pt>
                <c:pt idx="84">
                  <c:v>0.34369744955800491</c:v>
                </c:pt>
                <c:pt idx="85">
                  <c:v>0.27347583622219251</c:v>
                </c:pt>
                <c:pt idx="86">
                  <c:v>0.41077577872584753</c:v>
                </c:pt>
                <c:pt idx="87">
                  <c:v>0.48513209694544968</c:v>
                </c:pt>
                <c:pt idx="88">
                  <c:v>0.31291580285960291</c:v>
                </c:pt>
                <c:pt idx="89">
                  <c:v>0.53403170800847599</c:v>
                </c:pt>
                <c:pt idx="90">
                  <c:v>0.29179039048353261</c:v>
                </c:pt>
                <c:pt idx="91">
                  <c:v>0.34887460325063141</c:v>
                </c:pt>
                <c:pt idx="92">
                  <c:v>0.46097732282909615</c:v>
                </c:pt>
                <c:pt idx="93">
                  <c:v>0.44198291180272964</c:v>
                </c:pt>
                <c:pt idx="94">
                  <c:v>0.47922526633140017</c:v>
                </c:pt>
                <c:pt idx="95">
                  <c:v>0.52635284554137762</c:v>
                </c:pt>
                <c:pt idx="96">
                  <c:v>0.41636991974026516</c:v>
                </c:pt>
                <c:pt idx="97">
                  <c:v>0.61740028401176517</c:v>
                </c:pt>
                <c:pt idx="98">
                  <c:v>0.5524139805503977</c:v>
                </c:pt>
                <c:pt idx="99">
                  <c:v>0.67315887214611103</c:v>
                </c:pt>
                <c:pt idx="100">
                  <c:v>0.5117254962830402</c:v>
                </c:pt>
                <c:pt idx="101">
                  <c:v>0.75770967891425822</c:v>
                </c:pt>
              </c:numCache>
            </c:numRef>
          </c:yVal>
          <c:smooth val="0"/>
          <c:extLst xmlns:c16r2="http://schemas.microsoft.com/office/drawing/2015/06/chart">
            <c:ext xmlns:c16="http://schemas.microsoft.com/office/drawing/2014/chart" uri="{C3380CC4-5D6E-409C-BE32-E72D297353CC}">
              <c16:uniqueId val="{00000067-3133-4861-91F9-D88EEC0153F0}"/>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dLblPos val="t"/>
          <c:showLegendKey val="0"/>
          <c:showVal val="1"/>
          <c:showCatName val="0"/>
          <c:showSerName val="0"/>
          <c:showPercent val="0"/>
          <c:showBubbleSize val="0"/>
        </c:dLbls>
        <c:axId val="230473944"/>
        <c:axId val="230479040"/>
      </c:scatterChart>
      <c:valAx>
        <c:axId val="230473944"/>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9040"/>
        <c:crosses val="autoZero"/>
        <c:crossBetween val="midCat"/>
      </c:valAx>
      <c:valAx>
        <c:axId val="230479040"/>
        <c:scaling>
          <c:orientation val="minMax"/>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Robust</a:t>
                </a:r>
                <a:r>
                  <a:rPr lang="en-SG" sz="1100" baseline="0"/>
                  <a:t> Laws &amp; Policies Pillar</a:t>
                </a:r>
                <a:endParaRPr lang="en-SG" sz="1100"/>
              </a:p>
            </c:rich>
          </c:tx>
          <c:layout>
            <c:manualLayout>
              <c:xMode val="edge"/>
              <c:yMode val="edge"/>
              <c:x val="1.6967761276115215E-2"/>
              <c:y val="0.33035559780276946"/>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3944"/>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732694396744525E-2"/>
          <c:y val="9.9184626060259004E-2"/>
          <c:w val="0.90164722211797566"/>
          <c:h val="0.78892778153661414"/>
        </c:manualLayout>
      </c:layout>
      <c:scatterChart>
        <c:scatterStyle val="lineMarker"/>
        <c:varyColors val="0"/>
        <c:ser>
          <c:idx val="0"/>
          <c:order val="0"/>
          <c:tx>
            <c:v>Correlation between Anti-Corruption and Rule of Law</c:v>
          </c:tx>
          <c:spPr>
            <a:ln w="25400" cap="rnd">
              <a:noFill/>
              <a:round/>
            </a:ln>
            <a:effectLst/>
          </c:spPr>
          <c:marker>
            <c:symbol val="circle"/>
            <c:size val="3"/>
            <c:spPr>
              <a:solidFill>
                <a:srgbClr val="002060"/>
              </a:solidFill>
              <a:ln w="9525">
                <a:noFill/>
              </a:ln>
              <a:effectLst/>
            </c:spPr>
          </c:marker>
          <c:dLbls>
            <c:dLbl>
              <c:idx val="0"/>
              <c:layout>
                <c:manualLayout>
                  <c:x val="-5.0555263101248686E-2"/>
                  <c:y val="-6.1241409422195116E-2"/>
                </c:manualLayout>
              </c:layout>
              <c:tx>
                <c:rich>
                  <a:bodyPr/>
                  <a:lstStyle/>
                  <a:p>
                    <a:fld id="{6BA82A7A-393B-49ED-B992-A47DB932F79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D316-4C33-A5DD-A1F7518FFC98}"/>
                </c:ext>
                <c:ext xmlns:c15="http://schemas.microsoft.com/office/drawing/2012/chart" uri="{CE6537A1-D6FC-4f65-9D91-7224C49458BB}">
                  <c15:layout/>
                  <c15:dlblFieldTable/>
                  <c15:showDataLabelsRange val="1"/>
                </c:ext>
              </c:extLst>
            </c:dLbl>
            <c:dLbl>
              <c:idx val="1"/>
              <c:layout>
                <c:manualLayout>
                  <c:x val="0"/>
                  <c:y val="-7.4195385929934493E-2"/>
                </c:manualLayout>
              </c:layout>
              <c:tx>
                <c:rich>
                  <a:bodyPr/>
                  <a:lstStyle/>
                  <a:p>
                    <a:fld id="{2B19A76D-DB68-47DA-943C-04FF0D346AE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D316-4C33-A5DD-A1F7518FFC98}"/>
                </c:ext>
                <c:ext xmlns:c15="http://schemas.microsoft.com/office/drawing/2012/chart" uri="{CE6537A1-D6FC-4f65-9D91-7224C49458BB}">
                  <c15:layout/>
                  <c15:dlblFieldTable/>
                  <c15:showDataLabelsRange val="1"/>
                </c:ext>
              </c:extLst>
            </c:dLbl>
            <c:dLbl>
              <c:idx val="2"/>
              <c:layout/>
              <c:tx>
                <c:rich>
                  <a:bodyPr/>
                  <a:lstStyle/>
                  <a:p>
                    <a:fld id="{2EA7320B-9DAC-47DF-87B8-D9B4094142B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4D6834D2-D01B-4FA8-B8EF-21534C64FC8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manualLayout>
                  <c:x val="-5.0452594171132091E-2"/>
                  <c:y val="-3.6204092983123354E-2"/>
                </c:manualLayout>
              </c:layout>
              <c:tx>
                <c:rich>
                  <a:bodyPr/>
                  <a:lstStyle/>
                  <a:p>
                    <a:fld id="{24D1CA70-FCE4-4AEE-A55F-943174B00C5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D316-4C33-A5DD-A1F7518FFC98}"/>
                </c:ext>
                <c:ext xmlns:c15="http://schemas.microsoft.com/office/drawing/2012/chart" uri="{CE6537A1-D6FC-4f65-9D91-7224C49458BB}">
                  <c15:layout/>
                  <c15:dlblFieldTable/>
                  <c15:showDataLabelsRange val="1"/>
                </c:ext>
              </c:extLst>
            </c:dLbl>
            <c:dLbl>
              <c:idx val="5"/>
              <c:layout/>
              <c:tx>
                <c:rich>
                  <a:bodyPr/>
                  <a:lstStyle/>
                  <a:p>
                    <a:fld id="{86F044DA-614B-4A6C-85F4-9AD4EBB7620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manualLayout>
                  <c:x val="-5.4015951132855393E-2"/>
                  <c:y val="-3.728515046007011E-2"/>
                </c:manualLayout>
              </c:layout>
              <c:tx>
                <c:rich>
                  <a:bodyPr/>
                  <a:lstStyle/>
                  <a:p>
                    <a:fld id="{C722AC6A-CED8-4FC6-AF1E-0937C6D4B4D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6-D316-4C33-A5DD-A1F7518FFC98}"/>
                </c:ext>
                <c:ext xmlns:c15="http://schemas.microsoft.com/office/drawing/2012/chart" uri="{CE6537A1-D6FC-4f65-9D91-7224C49458BB}">
                  <c15:layout/>
                  <c15:dlblFieldTable/>
                  <c15:showDataLabelsRange val="1"/>
                </c:ext>
              </c:extLst>
            </c:dLbl>
            <c:dLbl>
              <c:idx val="7"/>
              <c:layout>
                <c:manualLayout>
                  <c:x val="-4.1607288299427336E-2"/>
                  <c:y val="-4.1705181505600306E-2"/>
                </c:manualLayout>
              </c:layout>
              <c:tx>
                <c:rich>
                  <a:bodyPr/>
                  <a:lstStyle/>
                  <a:p>
                    <a:fld id="{85023744-85E3-4003-BDAD-E60EF615BEE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D316-4C33-A5DD-A1F7518FFC98}"/>
                </c:ext>
                <c:ext xmlns:c15="http://schemas.microsoft.com/office/drawing/2012/chart" uri="{CE6537A1-D6FC-4f65-9D91-7224C49458BB}">
                  <c15:layout/>
                  <c15:dlblFieldTable/>
                  <c15:showDataLabelsRange val="1"/>
                </c:ext>
              </c:extLst>
            </c:dLbl>
            <c:dLbl>
              <c:idx val="8"/>
              <c:layout/>
              <c:tx>
                <c:rich>
                  <a:bodyPr/>
                  <a:lstStyle/>
                  <a:p>
                    <a:fld id="{98929986-9983-4678-B7B8-C6BF00F220B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
              <c:layout/>
              <c:tx>
                <c:rich>
                  <a:bodyPr/>
                  <a:lstStyle/>
                  <a:p>
                    <a:fld id="{AFFD8F98-0BDE-44BC-BDEF-7EC4D90100A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0"/>
                  <c:y val="2.155733650288439E-2"/>
                </c:manualLayout>
              </c:layout>
              <c:tx>
                <c:rich>
                  <a:bodyPr/>
                  <a:lstStyle/>
                  <a:p>
                    <a:fld id="{61BF61E9-4922-4A1E-9DF4-DA0C01E8BE9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D316-4C33-A5DD-A1F7518FFC98}"/>
                </c:ext>
                <c:ext xmlns:c15="http://schemas.microsoft.com/office/drawing/2012/chart" uri="{CE6537A1-D6FC-4f65-9D91-7224C49458BB}">
                  <c15:layout/>
                  <c15:dlblFieldTable/>
                  <c15:showDataLabelsRange val="1"/>
                </c:ext>
              </c:extLst>
            </c:dLbl>
            <c:dLbl>
              <c:idx val="11"/>
              <c:layout>
                <c:manualLayout>
                  <c:x val="-7.1422578759279168E-2"/>
                  <c:y val="-2.8057591592604004E-2"/>
                </c:manualLayout>
              </c:layout>
              <c:tx>
                <c:rich>
                  <a:bodyPr/>
                  <a:lstStyle/>
                  <a:p>
                    <a:fld id="{26B9B074-6C44-43A1-8304-F0098733F28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D316-4C33-A5DD-A1F7518FFC98}"/>
                </c:ext>
                <c:ext xmlns:c15="http://schemas.microsoft.com/office/drawing/2012/chart" uri="{CE6537A1-D6FC-4f65-9D91-7224C49458BB}">
                  <c15:layout/>
                  <c15:dlblFieldTable/>
                  <c15:showDataLabelsRange val="1"/>
                </c:ext>
              </c:extLst>
            </c:dLbl>
            <c:dLbl>
              <c:idx val="12"/>
              <c:layout/>
              <c:tx>
                <c:rich>
                  <a:bodyPr/>
                  <a:lstStyle/>
                  <a:p>
                    <a:fld id="{C252E3D0-A101-4718-A2DA-61B350AF04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manualLayout>
                  <c:x val="-1.3656332116627645E-2"/>
                  <c:y val="4.5762879347124738E-2"/>
                </c:manualLayout>
              </c:layout>
              <c:tx>
                <c:rich>
                  <a:bodyPr/>
                  <a:lstStyle/>
                  <a:p>
                    <a:fld id="{4F416CF2-5E08-4646-9303-42C1A7285C6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D-D316-4C33-A5DD-A1F7518FFC98}"/>
                </c:ext>
                <c:ext xmlns:c15="http://schemas.microsoft.com/office/drawing/2012/chart" uri="{CE6537A1-D6FC-4f65-9D91-7224C49458BB}">
                  <c15:layout/>
                  <c15:dlblFieldTable/>
                  <c15:showDataLabelsRange val="1"/>
                </c:ext>
              </c:extLst>
            </c:dLbl>
            <c:dLbl>
              <c:idx val="14"/>
              <c:layout>
                <c:manualLayout>
                  <c:x val="-7.7525635958513736E-2"/>
                  <c:y val="-3.7817384652569438E-2"/>
                </c:manualLayout>
              </c:layout>
              <c:tx>
                <c:rich>
                  <a:bodyPr/>
                  <a:lstStyle/>
                  <a:p>
                    <a:fld id="{BEF40709-F3C5-4942-9D2A-DC4A4EF1493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D316-4C33-A5DD-A1F7518FFC98}"/>
                </c:ext>
                <c:ext xmlns:c15="http://schemas.microsoft.com/office/drawing/2012/chart" uri="{CE6537A1-D6FC-4f65-9D91-7224C49458BB}">
                  <c15:layout/>
                  <c15:dlblFieldTable/>
                  <c15:showDataLabelsRange val="1"/>
                </c:ext>
              </c:extLst>
            </c:dLbl>
            <c:dLbl>
              <c:idx val="15"/>
              <c:layout>
                <c:manualLayout>
                  <c:x val="-2.0607153173140502E-2"/>
                  <c:y val="3.1832893390637058E-2"/>
                </c:manualLayout>
              </c:layout>
              <c:tx>
                <c:rich>
                  <a:bodyPr/>
                  <a:lstStyle/>
                  <a:p>
                    <a:fld id="{939C58C8-9514-4627-8723-394C4E69DC1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D316-4C33-A5DD-A1F7518FFC98}"/>
                </c:ext>
                <c:ext xmlns:c15="http://schemas.microsoft.com/office/drawing/2012/chart" uri="{CE6537A1-D6FC-4f65-9D91-7224C49458BB}">
                  <c15:layout/>
                  <c15:dlblFieldTable/>
                  <c15:showDataLabelsRange val="1"/>
                </c:ext>
              </c:extLst>
            </c:dLbl>
            <c:dLbl>
              <c:idx val="16"/>
              <c:layout>
                <c:manualLayout>
                  <c:x val="-2.404932346133816E-2"/>
                  <c:y val="-1.4216198843125466E-2"/>
                </c:manualLayout>
              </c:layout>
              <c:tx>
                <c:rich>
                  <a:bodyPr/>
                  <a:lstStyle/>
                  <a:p>
                    <a:fld id="{950950CE-A7CF-493A-BAA6-5AEDF9A5F4B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0-D316-4C33-A5DD-A1F7518FFC98}"/>
                </c:ext>
                <c:ext xmlns:c15="http://schemas.microsoft.com/office/drawing/2012/chart" uri="{CE6537A1-D6FC-4f65-9D91-7224C49458BB}">
                  <c15:layout/>
                  <c15:dlblFieldTable/>
                  <c15:showDataLabelsRange val="1"/>
                </c:ext>
              </c:extLst>
            </c:dLbl>
            <c:dLbl>
              <c:idx val="17"/>
              <c:layout/>
              <c:tx>
                <c:rich>
                  <a:bodyPr/>
                  <a:lstStyle/>
                  <a:p>
                    <a:fld id="{F481E143-221C-4EF9-AF0A-8CF3006738C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manualLayout>
                  <c:x val="-1.4624225340693929E-2"/>
                  <c:y val="2.5000871895326082E-2"/>
                </c:manualLayout>
              </c:layout>
              <c:tx>
                <c:rich>
                  <a:bodyPr/>
                  <a:lstStyle/>
                  <a:p>
                    <a:fld id="{3B8EE24C-3610-4F0E-9C2E-1B3F61A07A8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D316-4C33-A5DD-A1F7518FFC98}"/>
                </c:ext>
                <c:ext xmlns:c15="http://schemas.microsoft.com/office/drawing/2012/chart" uri="{CE6537A1-D6FC-4f65-9D91-7224C49458BB}">
                  <c15:layout/>
                  <c15:dlblFieldTable/>
                  <c15:showDataLabelsRange val="1"/>
                </c:ext>
              </c:extLst>
            </c:dLbl>
            <c:dLbl>
              <c:idx val="19"/>
              <c:layout/>
              <c:tx>
                <c:rich>
                  <a:bodyPr/>
                  <a:lstStyle/>
                  <a:p>
                    <a:fld id="{953AAC8F-9523-4377-9511-05CFC6AF5E4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6D26562E-BEC2-4A6C-9639-D9A7BED0144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6.1313527130166766E-2"/>
                  <c:y val="-2.3443812158870952E-2"/>
                </c:manualLayout>
              </c:layout>
              <c:tx>
                <c:rich>
                  <a:bodyPr/>
                  <a:lstStyle/>
                  <a:p>
                    <a:fld id="{C7313C7A-FBEE-49B2-99AF-50121526A6E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D316-4C33-A5DD-A1F7518FFC98}"/>
                </c:ext>
                <c:ext xmlns:c15="http://schemas.microsoft.com/office/drawing/2012/chart" uri="{CE6537A1-D6FC-4f65-9D91-7224C49458BB}">
                  <c15:layout/>
                  <c15:dlblFieldTable/>
                  <c15:showDataLabelsRange val="1"/>
                </c:ext>
              </c:extLst>
            </c:dLbl>
            <c:dLbl>
              <c:idx val="22"/>
              <c:layout/>
              <c:tx>
                <c:rich>
                  <a:bodyPr/>
                  <a:lstStyle/>
                  <a:p>
                    <a:fld id="{68BCF5B2-ECA3-4144-9C54-532EC220BFF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1FCE66AE-4DF9-4CB9-BCA4-14A27333F44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A866F4E5-8C79-4E01-831A-38CB15EA8FD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tx>
                <c:rich>
                  <a:bodyPr/>
                  <a:lstStyle/>
                  <a:p>
                    <a:fld id="{3BF8BAFF-D78E-4437-B589-CC828FF9F28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6"/>
              <c:layout>
                <c:manualLayout>
                  <c:x val="-1.8030625093751713E-2"/>
                  <c:y val="-2.2451371676931033E-2"/>
                </c:manualLayout>
              </c:layout>
              <c:tx>
                <c:rich>
                  <a:bodyPr/>
                  <a:lstStyle/>
                  <a:p>
                    <a:fld id="{2FB13E48-B3F8-4927-B1A7-3FD06516B45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A-D316-4C33-A5DD-A1F7518FFC98}"/>
                </c:ext>
                <c:ext xmlns:c15="http://schemas.microsoft.com/office/drawing/2012/chart" uri="{CE6537A1-D6FC-4f65-9D91-7224C49458BB}">
                  <c15:layout/>
                  <c15:dlblFieldTable/>
                  <c15:showDataLabelsRange val="1"/>
                </c:ext>
              </c:extLst>
            </c:dLbl>
            <c:dLbl>
              <c:idx val="27"/>
              <c:layout/>
              <c:tx>
                <c:rich>
                  <a:bodyPr/>
                  <a:lstStyle/>
                  <a:p>
                    <a:fld id="{62F5C3D8-EB7B-4018-8DDC-AA32D2847D3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50780632-9AB3-474E-9FAB-66D7FC1D5FD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14E272E6-98EA-4ED3-A14F-4F8F23B9CB9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BB0AC6A9-40A3-4190-AF81-1396ABD0C84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1.688019212050345E-2"/>
                  <c:y val="2.4307880764122852E-2"/>
                </c:manualLayout>
              </c:layout>
              <c:tx>
                <c:rich>
                  <a:bodyPr/>
                  <a:lstStyle/>
                  <a:p>
                    <a:fld id="{1608B805-C556-4009-B34B-D0F7DDEF7CD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D316-4C33-A5DD-A1F7518FFC98}"/>
                </c:ext>
                <c:ext xmlns:c15="http://schemas.microsoft.com/office/drawing/2012/chart" uri="{CE6537A1-D6FC-4f65-9D91-7224C49458BB}">
                  <c15:layout/>
                  <c15:dlblFieldTable/>
                  <c15:showDataLabelsRange val="1"/>
                </c:ext>
              </c:extLst>
            </c:dLbl>
            <c:dLbl>
              <c:idx val="32"/>
              <c:layout/>
              <c:tx>
                <c:rich>
                  <a:bodyPr/>
                  <a:lstStyle/>
                  <a:p>
                    <a:fld id="{0A651FE3-9210-4667-B4A8-36BDEA487B2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1.7042478903563446E-2"/>
                  <c:y val="2.8195027882288833E-2"/>
                </c:manualLayout>
              </c:layout>
              <c:tx>
                <c:rich>
                  <a:bodyPr/>
                  <a:lstStyle/>
                  <a:p>
                    <a:fld id="{FF716DF1-E7E8-4091-8B42-F553C516CDD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D316-4C33-A5DD-A1F7518FFC98}"/>
                </c:ext>
                <c:ext xmlns:c15="http://schemas.microsoft.com/office/drawing/2012/chart" uri="{CE6537A1-D6FC-4f65-9D91-7224C49458BB}">
                  <c15:layout/>
                  <c15:dlblFieldTable/>
                  <c15:showDataLabelsRange val="1"/>
                </c:ext>
              </c:extLst>
            </c:dLbl>
            <c:dLbl>
              <c:idx val="34"/>
              <c:layout>
                <c:manualLayout>
                  <c:x val="5.5739762324244206E-2"/>
                  <c:y val="9.1191154596181115E-2"/>
                </c:manualLayout>
              </c:layout>
              <c:tx>
                <c:rich>
                  <a:bodyPr/>
                  <a:lstStyle/>
                  <a:p>
                    <a:fld id="{481AD654-B1D0-45EF-AAD0-94D41763084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D316-4C33-A5DD-A1F7518FFC98}"/>
                </c:ext>
                <c:ext xmlns:c15="http://schemas.microsoft.com/office/drawing/2012/chart" uri="{CE6537A1-D6FC-4f65-9D91-7224C49458BB}">
                  <c15:layout/>
                  <c15:dlblFieldTable/>
                  <c15:showDataLabelsRange val="1"/>
                </c:ext>
              </c:extLst>
            </c:dLbl>
            <c:dLbl>
              <c:idx val="35"/>
              <c:layout>
                <c:manualLayout>
                  <c:x val="-1.7351222135482049E-2"/>
                  <c:y val="-4.8819599044402744E-2"/>
                </c:manualLayout>
              </c:layout>
              <c:tx>
                <c:rich>
                  <a:bodyPr/>
                  <a:lstStyle/>
                  <a:p>
                    <a:fld id="{EB9309BB-DD96-4DEB-BFAB-113EA2E3674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3-D316-4C33-A5DD-A1F7518FFC98}"/>
                </c:ext>
                <c:ext xmlns:c15="http://schemas.microsoft.com/office/drawing/2012/chart" uri="{CE6537A1-D6FC-4f65-9D91-7224C49458BB}">
                  <c15:layout/>
                  <c15:dlblFieldTable/>
                  <c15:showDataLabelsRange val="1"/>
                </c:ext>
              </c:extLst>
            </c:dLbl>
            <c:dLbl>
              <c:idx val="36"/>
              <c:layout>
                <c:manualLayout>
                  <c:x val="-5.1201900433259312E-2"/>
                  <c:y val="5.729732793145749E-2"/>
                </c:manualLayout>
              </c:layout>
              <c:tx>
                <c:rich>
                  <a:bodyPr/>
                  <a:lstStyle/>
                  <a:p>
                    <a:fld id="{BD3C0E1B-71AC-44DD-8645-F374D60CBFE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D316-4C33-A5DD-A1F7518FFC98}"/>
                </c:ext>
                <c:ext xmlns:c15="http://schemas.microsoft.com/office/drawing/2012/chart" uri="{CE6537A1-D6FC-4f65-9D91-7224C49458BB}">
                  <c15:layout/>
                  <c15:dlblFieldTable/>
                  <c15:showDataLabelsRange val="1"/>
                </c:ext>
              </c:extLst>
            </c:dLbl>
            <c:dLbl>
              <c:idx val="37"/>
              <c:layout>
                <c:manualLayout>
                  <c:x val="-3.7692795853031737E-2"/>
                  <c:y val="-4.1705181505600285E-2"/>
                </c:manualLayout>
              </c:layout>
              <c:tx>
                <c:rich>
                  <a:bodyPr/>
                  <a:lstStyle/>
                  <a:p>
                    <a:fld id="{F326B88A-7877-41A6-AABE-4D97AC658D9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5-D316-4C33-A5DD-A1F7518FFC98}"/>
                </c:ext>
                <c:ext xmlns:c15="http://schemas.microsoft.com/office/drawing/2012/chart" uri="{CE6537A1-D6FC-4f65-9D91-7224C49458BB}">
                  <c15:layout/>
                  <c15:dlblFieldTable/>
                  <c15:showDataLabelsRange val="1"/>
                </c:ext>
              </c:extLst>
            </c:dLbl>
            <c:dLbl>
              <c:idx val="38"/>
              <c:layout/>
              <c:tx>
                <c:rich>
                  <a:bodyPr/>
                  <a:lstStyle/>
                  <a:p>
                    <a:fld id="{DC7E891D-6723-41CD-8327-32F5EA19C5A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manualLayout>
                  <c:x val="-5.8514302818797506E-2"/>
                  <c:y val="-3.345354872188494E-2"/>
                </c:manualLayout>
              </c:layout>
              <c:tx>
                <c:rich>
                  <a:bodyPr/>
                  <a:lstStyle/>
                  <a:p>
                    <a:fld id="{7A3A0B87-2D00-45A2-A2D6-2EA88AEB25C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D316-4C33-A5DD-A1F7518FFC98}"/>
                </c:ext>
                <c:ext xmlns:c15="http://schemas.microsoft.com/office/drawing/2012/chart" uri="{CE6537A1-D6FC-4f65-9D91-7224C49458BB}">
                  <c15:layout/>
                  <c15:dlblFieldTable/>
                  <c15:showDataLabelsRange val="1"/>
                </c:ext>
              </c:extLst>
            </c:dLbl>
            <c:dLbl>
              <c:idx val="40"/>
              <c:layout>
                <c:manualLayout>
                  <c:x val="-2.6742720564361305E-2"/>
                  <c:y val="-4.8376009363112558E-2"/>
                </c:manualLayout>
              </c:layout>
              <c:tx>
                <c:rich>
                  <a:bodyPr/>
                  <a:lstStyle/>
                  <a:p>
                    <a:fld id="{D0B65973-CD1E-4F2A-BF9D-F6A32871EDD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8-D316-4C33-A5DD-A1F7518FFC98}"/>
                </c:ext>
                <c:ext xmlns:c15="http://schemas.microsoft.com/office/drawing/2012/chart" uri="{CE6537A1-D6FC-4f65-9D91-7224C49458BB}">
                  <c15:layout/>
                  <c15:dlblFieldTable/>
                  <c15:showDataLabelsRange val="1"/>
                </c:ext>
              </c:extLst>
            </c:dLbl>
            <c:dLbl>
              <c:idx val="41"/>
              <c:layout/>
              <c:tx>
                <c:rich>
                  <a:bodyPr/>
                  <a:lstStyle/>
                  <a:p>
                    <a:fld id="{A1E40DC4-E9EE-40B3-9FB6-48BCBF05698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8.422458642509377E-2"/>
                  <c:y val="-5.0150651857332189E-2"/>
                </c:manualLayout>
              </c:layout>
              <c:tx>
                <c:rich>
                  <a:bodyPr/>
                  <a:lstStyle/>
                  <a:p>
                    <a:fld id="{60BE57FD-380D-49C9-AFC4-0D2D490FB4C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D316-4C33-A5DD-A1F7518FFC98}"/>
                </c:ext>
                <c:ext xmlns:c15="http://schemas.microsoft.com/office/drawing/2012/chart" uri="{CE6537A1-D6FC-4f65-9D91-7224C49458BB}">
                  <c15:layout/>
                  <c15:dlblFieldTable/>
                  <c15:showDataLabelsRange val="1"/>
                </c:ext>
              </c:extLst>
            </c:dLbl>
            <c:dLbl>
              <c:idx val="43"/>
              <c:layout>
                <c:manualLayout>
                  <c:x val="-4.6802832039603386E-3"/>
                  <c:y val="-2.5201915938169499E-2"/>
                </c:manualLayout>
              </c:layout>
              <c:tx>
                <c:rich>
                  <a:bodyPr/>
                  <a:lstStyle/>
                  <a:p>
                    <a:fld id="{CCA9B385-8043-4089-8E64-9ECEA955AAB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B-D316-4C33-A5DD-A1F7518FFC98}"/>
                </c:ext>
                <c:ext xmlns:c15="http://schemas.microsoft.com/office/drawing/2012/chart" uri="{CE6537A1-D6FC-4f65-9D91-7224C49458BB}">
                  <c15:layout/>
                  <c15:dlblFieldTable/>
                  <c15:showDataLabelsRange val="1"/>
                </c:ext>
              </c:extLst>
            </c:dLbl>
            <c:dLbl>
              <c:idx val="44"/>
              <c:layout>
                <c:manualLayout>
                  <c:x val="-6.0939062432767886E-2"/>
                  <c:y val="3.8842210196525208E-2"/>
                </c:manualLayout>
              </c:layout>
              <c:tx>
                <c:rich>
                  <a:bodyPr/>
                  <a:lstStyle/>
                  <a:p>
                    <a:fld id="{6774ABEC-7FCB-4312-B4FB-DAC26958618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D316-4C33-A5DD-A1F7518FFC98}"/>
                </c:ext>
                <c:ext xmlns:c15="http://schemas.microsoft.com/office/drawing/2012/chart" uri="{CE6537A1-D6FC-4f65-9D91-7224C49458BB}">
                  <c15:layout/>
                  <c15:dlblFieldTable/>
                  <c15:showDataLabelsRange val="1"/>
                </c:ext>
              </c:extLst>
            </c:dLbl>
            <c:dLbl>
              <c:idx val="45"/>
              <c:layout>
                <c:manualLayout>
                  <c:x val="-4.6255452244240311E-2"/>
                  <c:y val="-5.8208447073031064E-2"/>
                </c:manualLayout>
              </c:layout>
              <c:tx>
                <c:rich>
                  <a:bodyPr/>
                  <a:lstStyle/>
                  <a:p>
                    <a:fld id="{015CEE7C-8CB6-4FB9-A294-3625BEC0F19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D316-4C33-A5DD-A1F7518FFC98}"/>
                </c:ext>
                <c:ext xmlns:c15="http://schemas.microsoft.com/office/drawing/2012/chart" uri="{CE6537A1-D6FC-4f65-9D91-7224C49458BB}">
                  <c15:layout/>
                  <c15:dlblFieldTable/>
                  <c15:showDataLabelsRange val="1"/>
                </c:ext>
              </c:extLst>
            </c:dLbl>
            <c:dLbl>
              <c:idx val="46"/>
              <c:layout>
                <c:manualLayout>
                  <c:x val="-4.6223220285938039E-2"/>
                  <c:y val="-3.0703004460646475E-2"/>
                </c:manualLayout>
              </c:layout>
              <c:tx>
                <c:rich>
                  <a:bodyPr/>
                  <a:lstStyle/>
                  <a:p>
                    <a:fld id="{D2240839-B488-451C-9605-F8903FB74CA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D316-4C33-A5DD-A1F7518FFC98}"/>
                </c:ext>
                <c:ext xmlns:c15="http://schemas.microsoft.com/office/drawing/2012/chart" uri="{CE6537A1-D6FC-4f65-9D91-7224C49458BB}">
                  <c15:layout/>
                  <c15:dlblFieldTable/>
                  <c15:showDataLabelsRange val="1"/>
                </c:ext>
              </c:extLst>
            </c:dLbl>
            <c:dLbl>
              <c:idx val="47"/>
              <c:layout>
                <c:manualLayout>
                  <c:x val="3.1145200351486071E-2"/>
                  <c:y val="4.9223480205177507E-2"/>
                </c:manualLayout>
              </c:layout>
              <c:tx>
                <c:rich>
                  <a:bodyPr/>
                  <a:lstStyle/>
                  <a:p>
                    <a:fld id="{A1D28F36-03F5-4F88-A2B0-894969B5B8C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D316-4C33-A5DD-A1F7518FFC98}"/>
                </c:ext>
                <c:ext xmlns:c15="http://schemas.microsoft.com/office/drawing/2012/chart" uri="{CE6537A1-D6FC-4f65-9D91-7224C49458BB}">
                  <c15:layout/>
                  <c15:dlblFieldTable/>
                  <c15:showDataLabelsRange val="1"/>
                </c:ext>
              </c:extLst>
            </c:dLbl>
            <c:dLbl>
              <c:idx val="48"/>
              <c:layout>
                <c:manualLayout>
                  <c:x val="-2.1739802191598667E-2"/>
                  <c:y val="3.6535320479658684E-2"/>
                </c:manualLayout>
              </c:layout>
              <c:tx>
                <c:rich>
                  <a:bodyPr/>
                  <a:lstStyle/>
                  <a:p>
                    <a:fld id="{C7B3CAB5-3B09-476F-B336-F87A8F16882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0-D316-4C33-A5DD-A1F7518FFC98}"/>
                </c:ext>
                <c:ext xmlns:c15="http://schemas.microsoft.com/office/drawing/2012/chart" uri="{CE6537A1-D6FC-4f65-9D91-7224C49458BB}">
                  <c15:layout/>
                  <c15:dlblFieldTable/>
                  <c15:showDataLabelsRange val="1"/>
                </c:ext>
              </c:extLst>
            </c:dLbl>
            <c:dLbl>
              <c:idx val="49"/>
              <c:layout>
                <c:manualLayout>
                  <c:x val="-3.5786464745909755E-2"/>
                  <c:y val="3.422843076279207E-2"/>
                </c:manualLayout>
              </c:layout>
              <c:tx>
                <c:rich>
                  <a:bodyPr/>
                  <a:lstStyle/>
                  <a:p>
                    <a:fld id="{A5D814C6-6ECE-4B04-84A1-49EC48135F9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D316-4C33-A5DD-A1F7518FFC98}"/>
                </c:ext>
                <c:ext xmlns:c15="http://schemas.microsoft.com/office/drawing/2012/chart" uri="{CE6537A1-D6FC-4f65-9D91-7224C49458BB}">
                  <c15:layout/>
                  <c15:dlblFieldTable/>
                  <c15:showDataLabelsRange val="1"/>
                </c:ext>
              </c:extLst>
            </c:dLbl>
            <c:dLbl>
              <c:idx val="50"/>
              <c:layout>
                <c:manualLayout>
                  <c:x val="5.068419093445739E-2"/>
                  <c:y val="3.6003108331593384E-2"/>
                </c:manualLayout>
              </c:layout>
              <c:tx>
                <c:rich>
                  <a:bodyPr/>
                  <a:lstStyle/>
                  <a:p>
                    <a:fld id="{4BE166FA-DEF6-4BFB-8408-89E0C709879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2-D316-4C33-A5DD-A1F7518FFC98}"/>
                </c:ext>
                <c:ext xmlns:c15="http://schemas.microsoft.com/office/drawing/2012/chart" uri="{CE6537A1-D6FC-4f65-9D91-7224C49458BB}">
                  <c15:layout/>
                  <c15:dlblFieldTable/>
                  <c15:showDataLabelsRange val="1"/>
                </c:ext>
              </c:extLst>
            </c:dLbl>
            <c:dLbl>
              <c:idx val="51"/>
              <c:layout>
                <c:manualLayout>
                  <c:x val="-7.721807996478482E-3"/>
                  <c:y val="-5.2707358550554188E-2"/>
                </c:manualLayout>
              </c:layout>
              <c:tx>
                <c:rich>
                  <a:bodyPr/>
                  <a:lstStyle/>
                  <a:p>
                    <a:fld id="{3C5CC143-D2DD-4C97-92F3-F722583E8C1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3-D316-4C33-A5DD-A1F7518FFC98}"/>
                </c:ext>
                <c:ext xmlns:c15="http://schemas.microsoft.com/office/drawing/2012/chart" uri="{CE6537A1-D6FC-4f65-9D91-7224C49458BB}">
                  <c15:layout/>
                  <c15:dlblFieldTable/>
                  <c15:showDataLabelsRange val="1"/>
                </c:ext>
              </c:extLst>
            </c:dLbl>
            <c:dLbl>
              <c:idx val="52"/>
              <c:layout>
                <c:manualLayout>
                  <c:x val="-4.6498769719675502E-2"/>
                  <c:y val="-3.0703004460646475E-2"/>
                </c:manualLayout>
              </c:layout>
              <c:tx>
                <c:rich>
                  <a:bodyPr/>
                  <a:lstStyle/>
                  <a:p>
                    <a:fld id="{2F0BAA26-AD4C-475F-B096-47189EDE792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4-D316-4C33-A5DD-A1F7518FFC98}"/>
                </c:ext>
                <c:ext xmlns:c15="http://schemas.microsoft.com/office/drawing/2012/chart" uri="{CE6537A1-D6FC-4f65-9D91-7224C49458BB}">
                  <c15:layout/>
                  <c15:dlblFieldTable/>
                  <c15:showDataLabelsRange val="1"/>
                </c:ext>
              </c:extLst>
            </c:dLbl>
            <c:dLbl>
              <c:idx val="53"/>
              <c:layout>
                <c:manualLayout>
                  <c:x val="-4.9715541698067467E-2"/>
                  <c:y val="-4.1705181505600285E-2"/>
                </c:manualLayout>
              </c:layout>
              <c:tx>
                <c:rich>
                  <a:bodyPr/>
                  <a:lstStyle/>
                  <a:p>
                    <a:fld id="{BEA260F7-0F56-4407-9B73-ACDB4C21676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5-D316-4C33-A5DD-A1F7518FFC98}"/>
                </c:ext>
                <c:ext xmlns:c15="http://schemas.microsoft.com/office/drawing/2012/chart" uri="{CE6537A1-D6FC-4f65-9D91-7224C49458BB}">
                  <c15:layout/>
                  <c15:dlblFieldTable/>
                  <c15:showDataLabelsRange val="1"/>
                </c:ext>
              </c:extLst>
            </c:dLbl>
            <c:dLbl>
              <c:idx val="54"/>
              <c:layout/>
              <c:tx>
                <c:rich>
                  <a:bodyPr/>
                  <a:lstStyle/>
                  <a:p>
                    <a:fld id="{06355FC1-7E15-4A98-BDF1-22113ABA1DD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5"/>
              <c:layout>
                <c:manualLayout>
                  <c:x val="-2.7528886861322925E-2"/>
                  <c:y val="0.10343512226878789"/>
                </c:manualLayout>
              </c:layout>
              <c:tx>
                <c:rich>
                  <a:bodyPr/>
                  <a:lstStyle/>
                  <a:p>
                    <a:fld id="{AC2237ED-D200-4F6C-8B17-8BCAB995B2A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D316-4C33-A5DD-A1F7518FFC98}"/>
                </c:ext>
                <c:ext xmlns:c15="http://schemas.microsoft.com/office/drawing/2012/chart" uri="{CE6537A1-D6FC-4f65-9D91-7224C49458BB}">
                  <c15:layout/>
                  <c15:dlblFieldTable/>
                  <c15:showDataLabelsRange val="1"/>
                </c:ext>
              </c:extLst>
            </c:dLbl>
            <c:dLbl>
              <c:idx val="56"/>
              <c:layout>
                <c:manualLayout>
                  <c:x val="-3.0878103354366429E-2"/>
                  <c:y val="-6.8161952046101718E-2"/>
                </c:manualLayout>
              </c:layout>
              <c:tx>
                <c:rich>
                  <a:bodyPr/>
                  <a:lstStyle/>
                  <a:p>
                    <a:fld id="{1278A1B3-821D-4BA1-93BF-ADD384B6001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8-D316-4C33-A5DD-A1F7518FFC98}"/>
                </c:ext>
                <c:ext xmlns:c15="http://schemas.microsoft.com/office/drawing/2012/chart" uri="{CE6537A1-D6FC-4f65-9D91-7224C49458BB}">
                  <c15:layout/>
                  <c15:dlblFieldTable/>
                  <c15:showDataLabelsRange val="1"/>
                </c:ext>
              </c:extLst>
            </c:dLbl>
            <c:dLbl>
              <c:idx val="57"/>
              <c:layout>
                <c:manualLayout>
                  <c:x val="3.2561039834530592E-3"/>
                  <c:y val="-3.1975618482617861E-3"/>
                </c:manualLayout>
              </c:layout>
              <c:tx>
                <c:rich>
                  <a:bodyPr/>
                  <a:lstStyle/>
                  <a:p>
                    <a:fld id="{98065617-9105-4FCC-BE95-7F9569B6177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9-D316-4C33-A5DD-A1F7518FFC98}"/>
                </c:ext>
                <c:ext xmlns:c15="http://schemas.microsoft.com/office/drawing/2012/chart" uri="{CE6537A1-D6FC-4f65-9D91-7224C49458BB}">
                  <c15:layout/>
                  <c15:dlblFieldTable/>
                  <c15:showDataLabelsRange val="1"/>
                </c:ext>
              </c:extLst>
            </c:dLbl>
            <c:dLbl>
              <c:idx val="58"/>
              <c:layout/>
              <c:tx>
                <c:rich>
                  <a:bodyPr/>
                  <a:lstStyle/>
                  <a:p>
                    <a:fld id="{B21F9049-A023-46BB-ADDD-A6D6873DDE4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6.9965325851011034E-2"/>
                  <c:y val="-3.0364492596054636E-2"/>
                </c:manualLayout>
              </c:layout>
              <c:tx>
                <c:rich>
                  <a:bodyPr/>
                  <a:lstStyle/>
                  <a:p>
                    <a:fld id="{6C91045C-24D5-45A7-8C57-36FF07BFDD1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D316-4C33-A5DD-A1F7518FFC98}"/>
                </c:ext>
                <c:ext xmlns:c15="http://schemas.microsoft.com/office/drawing/2012/chart" uri="{CE6537A1-D6FC-4f65-9D91-7224C49458BB}">
                  <c15:layout/>
                  <c15:dlblFieldTable/>
                  <c15:showDataLabelsRange val="1"/>
                </c:ext>
              </c:extLst>
            </c:dLbl>
            <c:dLbl>
              <c:idx val="60"/>
              <c:layout/>
              <c:tx>
                <c:rich>
                  <a:bodyPr/>
                  <a:lstStyle/>
                  <a:p>
                    <a:fld id="{DC4EF547-8B88-48B6-9B79-8461DB4E4B4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B1DD4311-D13F-4514-9F51-873079EFE69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A8218E1F-184B-435A-A37E-7EEFCD77867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8D2CDE8E-F4C3-4602-BC24-E1E8CB39B4F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F3E47926-10E7-4E32-8B1C-08F92CEFBB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1F8358DC-45F9-43CC-9FB6-50504EE94E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1A005963-DC0E-4D6C-917C-29EBBF60094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476B24DB-324E-43A6-8564-348F6C90577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D96C2883-1CCE-427E-A599-5828206BB5F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F429A30A-7737-435C-BCF1-1C7090129BD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140C5F19-6665-4CCD-966C-369FF3D2E3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7FFDA62A-4781-47F6-86ED-456AD818D8F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49CA37B7-A4AD-4500-9BF8-535DA1C386D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75AE2001-593B-4B5D-864F-220D51B053B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03E9C196-1066-489A-BE4D-426C8AF64B3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5AA11502-E00B-4986-875B-FA1A2AFF5A6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F163C9AB-8810-42CF-81F1-2C652193687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0FA1F826-5432-4F36-B38D-49C59ED7683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94B24D19-BDDF-4870-BC73-2EAB65B98DE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F8D5B4DE-A153-4BC8-B5BF-0AD881DA331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9D089A5A-8455-4790-BACD-704FBFA8BE8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F9FC45B1-A75C-43FE-B031-5D07D64F520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783F094A-6418-4FE6-B3CE-D375FA63444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94D578A3-E7E5-403D-97B9-20BE67A01CE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18D54F6E-C7B1-4F9C-AAB2-F65BAFC8735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5968F046-96C6-4537-849A-1B79F349FE8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6CCC8CC1-1270-4136-92F0-0499F9DBEEB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4CFBB941-D136-439D-8310-92FEDBD182A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B3906076-785A-4721-97C2-2E307167A94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949F598D-7B13-4F1D-A16A-FD78F918DF0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0E0BC85C-3B0C-4368-B887-316FC2A30E7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FBB20166-E106-46FE-B2AF-EDFC66FE79E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D8C24F3F-A22E-4DD0-A1DE-275CA9462E1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1BE361D0-1F39-4B4B-A8C8-9EC28464E7A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3B170A16-DEB4-4DA9-AA20-A7EABB16CD8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0B0F4B47-9868-4AE9-AAF0-76FA64E70A6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2FC66428-BEDB-4FF9-9D0D-AEF8AA8ED58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EB125DD3-424F-4809-8E1C-E4C6998C444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095FC49E-4274-44D7-B1F2-FCCC6C29D18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8AF19E41-63FF-4EE2-8B0F-2405C57C3BA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CB4113D0-853E-4124-9880-A4BC0F4E0C2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72AE168F-B31D-4D37-9409-45BD0E03C24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G$3:$G$104</c:f>
              <c:numCache>
                <c:formatCode>0.000</c:formatCode>
                <c:ptCount val="102"/>
                <c:pt idx="0">
                  <c:v>0.99467830499311549</c:v>
                </c:pt>
                <c:pt idx="1">
                  <c:v>0.98529171336685484</c:v>
                </c:pt>
                <c:pt idx="2">
                  <c:v>0.87922353565705069</c:v>
                </c:pt>
                <c:pt idx="3">
                  <c:v>0.95015331642230083</c:v>
                </c:pt>
                <c:pt idx="4">
                  <c:v>0.76998500773383471</c:v>
                </c:pt>
                <c:pt idx="5">
                  <c:v>1</c:v>
                </c:pt>
                <c:pt idx="6">
                  <c:v>0.92273477270024962</c:v>
                </c:pt>
                <c:pt idx="7">
                  <c:v>0.85760874684321098</c:v>
                </c:pt>
                <c:pt idx="8">
                  <c:v>0.91264817986586277</c:v>
                </c:pt>
                <c:pt idx="9">
                  <c:v>0.74096855713743148</c:v>
                </c:pt>
                <c:pt idx="10">
                  <c:v>0.93558095691305188</c:v>
                </c:pt>
                <c:pt idx="11">
                  <c:v>0.98728107871773585</c:v>
                </c:pt>
                <c:pt idx="12">
                  <c:v>0.63072034556197898</c:v>
                </c:pt>
                <c:pt idx="13">
                  <c:v>0.72473308279346904</c:v>
                </c:pt>
                <c:pt idx="14">
                  <c:v>0.8585330192134516</c:v>
                </c:pt>
                <c:pt idx="15">
                  <c:v>0.85478445243634105</c:v>
                </c:pt>
                <c:pt idx="16">
                  <c:v>0.60899194326590089</c:v>
                </c:pt>
                <c:pt idx="17">
                  <c:v>0.78501239172348714</c:v>
                </c:pt>
                <c:pt idx="18">
                  <c:v>0.90364510268961507</c:v>
                </c:pt>
                <c:pt idx="19">
                  <c:v>0.88438361177320102</c:v>
                </c:pt>
                <c:pt idx="20">
                  <c:v>0.87270542812997209</c:v>
                </c:pt>
                <c:pt idx="21">
                  <c:v>0.76928181951384356</c:v>
                </c:pt>
                <c:pt idx="22">
                  <c:v>0.75186527814744797</c:v>
                </c:pt>
                <c:pt idx="23">
                  <c:v>0.75906986691568801</c:v>
                </c:pt>
                <c:pt idx="24">
                  <c:v>0.57863095651889596</c:v>
                </c:pt>
                <c:pt idx="25">
                  <c:v>0.98040846591968711</c:v>
                </c:pt>
                <c:pt idx="26">
                  <c:v>0.71066229910607603</c:v>
                </c:pt>
                <c:pt idx="27">
                  <c:v>0.53450976462236988</c:v>
                </c:pt>
                <c:pt idx="28">
                  <c:v>0.32365050481579555</c:v>
                </c:pt>
                <c:pt idx="29">
                  <c:v>0.35309844616692737</c:v>
                </c:pt>
                <c:pt idx="30">
                  <c:v>0.84454372410077949</c:v>
                </c:pt>
                <c:pt idx="31">
                  <c:v>0.89684525448953256</c:v>
                </c:pt>
                <c:pt idx="32">
                  <c:v>0.73627954695433762</c:v>
                </c:pt>
                <c:pt idx="33">
                  <c:v>0.47974114195250234</c:v>
                </c:pt>
                <c:pt idx="34">
                  <c:v>0.43042003752650043</c:v>
                </c:pt>
                <c:pt idx="35">
                  <c:v>0.79078916988448533</c:v>
                </c:pt>
                <c:pt idx="36">
                  <c:v>0.3392136578017505</c:v>
                </c:pt>
                <c:pt idx="37">
                  <c:v>0.66192157810120189</c:v>
                </c:pt>
                <c:pt idx="38">
                  <c:v>0.53520706182241307</c:v>
                </c:pt>
                <c:pt idx="39">
                  <c:v>0.59981454699021886</c:v>
                </c:pt>
                <c:pt idx="40">
                  <c:v>0.43750408801039098</c:v>
                </c:pt>
                <c:pt idx="41">
                  <c:v>0.57306838537306293</c:v>
                </c:pt>
                <c:pt idx="42">
                  <c:v>0.4337694841626733</c:v>
                </c:pt>
                <c:pt idx="43">
                  <c:v>0.7029801168024421</c:v>
                </c:pt>
                <c:pt idx="44">
                  <c:v>0.67398736850589502</c:v>
                </c:pt>
                <c:pt idx="45">
                  <c:v>0.46950944794544014</c:v>
                </c:pt>
                <c:pt idx="46">
                  <c:v>0.50909934570192827</c:v>
                </c:pt>
                <c:pt idx="47">
                  <c:v>0.43144879002668007</c:v>
                </c:pt>
                <c:pt idx="48">
                  <c:v>0.56339429653993045</c:v>
                </c:pt>
                <c:pt idx="49">
                  <c:v>0.36277017018462826</c:v>
                </c:pt>
                <c:pt idx="50">
                  <c:v>0.43766868758487781</c:v>
                </c:pt>
                <c:pt idx="51">
                  <c:v>0.56886252351875854</c:v>
                </c:pt>
                <c:pt idx="52">
                  <c:v>0.65095979313172014</c:v>
                </c:pt>
                <c:pt idx="53">
                  <c:v>0.44472833781125554</c:v>
                </c:pt>
                <c:pt idx="54">
                  <c:v>0.34936171416397854</c:v>
                </c:pt>
                <c:pt idx="55">
                  <c:v>0.4356484773527709</c:v>
                </c:pt>
                <c:pt idx="56">
                  <c:v>0.45533405850336656</c:v>
                </c:pt>
                <c:pt idx="57">
                  <c:v>0.42778153626253596</c:v>
                </c:pt>
                <c:pt idx="58">
                  <c:v>0.58043739693825147</c:v>
                </c:pt>
                <c:pt idx="59">
                  <c:v>0.40933793774852634</c:v>
                </c:pt>
                <c:pt idx="60">
                  <c:v>0</c:v>
                </c:pt>
                <c:pt idx="61">
                  <c:v>0.2064393217903131</c:v>
                </c:pt>
                <c:pt idx="62">
                  <c:v>0.22110629829907208</c:v>
                </c:pt>
                <c:pt idx="63">
                  <c:v>0.22521588197655348</c:v>
                </c:pt>
                <c:pt idx="64">
                  <c:v>0.2628840441263412</c:v>
                </c:pt>
                <c:pt idx="65">
                  <c:v>0.29198217566586726</c:v>
                </c:pt>
                <c:pt idx="66">
                  <c:v>0.29001732897118199</c:v>
                </c:pt>
                <c:pt idx="67">
                  <c:v>0.26681813808472638</c:v>
                </c:pt>
                <c:pt idx="68">
                  <c:v>0.31306495649689342</c:v>
                </c:pt>
                <c:pt idx="69">
                  <c:v>0.29469298733696053</c:v>
                </c:pt>
                <c:pt idx="70">
                  <c:v>0.26143854436507058</c:v>
                </c:pt>
                <c:pt idx="71">
                  <c:v>0.30571630772377789</c:v>
                </c:pt>
                <c:pt idx="72">
                  <c:v>0.33757007647909593</c:v>
                </c:pt>
                <c:pt idx="73">
                  <c:v>0.32279145801965126</c:v>
                </c:pt>
                <c:pt idx="74">
                  <c:v>0.28917313089926922</c:v>
                </c:pt>
                <c:pt idx="75">
                  <c:v>0.38640486156169324</c:v>
                </c:pt>
                <c:pt idx="76">
                  <c:v>0.29866615247453787</c:v>
                </c:pt>
                <c:pt idx="77">
                  <c:v>0.341042649825822</c:v>
                </c:pt>
                <c:pt idx="78">
                  <c:v>0.41532866922216682</c:v>
                </c:pt>
                <c:pt idx="79">
                  <c:v>0.41871442862361763</c:v>
                </c:pt>
                <c:pt idx="80">
                  <c:v>0.46091253245603664</c:v>
                </c:pt>
                <c:pt idx="81">
                  <c:v>0.47448165382742813</c:v>
                </c:pt>
                <c:pt idx="82">
                  <c:v>0.44744832139046592</c:v>
                </c:pt>
                <c:pt idx="83">
                  <c:v>0.43421921090425414</c:v>
                </c:pt>
                <c:pt idx="84">
                  <c:v>0.35057753667810138</c:v>
                </c:pt>
                <c:pt idx="85">
                  <c:v>0.35972287685066467</c:v>
                </c:pt>
                <c:pt idx="86">
                  <c:v>0.45478712495890633</c:v>
                </c:pt>
                <c:pt idx="87">
                  <c:v>0.40940616764092602</c:v>
                </c:pt>
                <c:pt idx="88">
                  <c:v>0.35994364839699811</c:v>
                </c:pt>
                <c:pt idx="89">
                  <c:v>0.3919690661976688</c:v>
                </c:pt>
                <c:pt idx="90">
                  <c:v>0.3816692012068717</c:v>
                </c:pt>
                <c:pt idx="91">
                  <c:v>0.41192252273074631</c:v>
                </c:pt>
                <c:pt idx="92">
                  <c:v>0.44760518740443717</c:v>
                </c:pt>
                <c:pt idx="93">
                  <c:v>0.4947248235778906</c:v>
                </c:pt>
                <c:pt idx="94">
                  <c:v>0.49642081109788111</c:v>
                </c:pt>
                <c:pt idx="95">
                  <c:v>0.48494524455441701</c:v>
                </c:pt>
                <c:pt idx="96">
                  <c:v>0.46726994753219347</c:v>
                </c:pt>
                <c:pt idx="97">
                  <c:v>0.57615589874365758</c:v>
                </c:pt>
                <c:pt idx="98">
                  <c:v>0.5219113679805879</c:v>
                </c:pt>
                <c:pt idx="99">
                  <c:v>0.59358064768832874</c:v>
                </c:pt>
                <c:pt idx="100">
                  <c:v>0.58440312070565226</c:v>
                </c:pt>
                <c:pt idx="101">
                  <c:v>0.77924409068404132</c:v>
                </c:pt>
              </c:numCache>
            </c:numRef>
          </c:yVal>
          <c:smooth val="0"/>
          <c:extLst xmlns:c16r2="http://schemas.microsoft.com/office/drawing/2015/06/chart">
            <c:ext xmlns:c16="http://schemas.microsoft.com/office/drawing/2014/chart" uri="{C3380CC4-5D6E-409C-BE32-E72D297353CC}">
              <c16:uniqueId val="{00000068-D316-4C33-A5DD-A1F7518FFC98}"/>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dLblPos val="t"/>
          <c:showLegendKey val="0"/>
          <c:showVal val="1"/>
          <c:showCatName val="0"/>
          <c:showSerName val="0"/>
          <c:showPercent val="0"/>
          <c:showBubbleSize val="0"/>
        </c:dLbls>
        <c:axId val="230470024"/>
        <c:axId val="230471984"/>
      </c:scatterChart>
      <c:valAx>
        <c:axId val="230470024"/>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1984"/>
        <c:crosses val="autoZero"/>
        <c:crossBetween val="midCat"/>
      </c:valAx>
      <c:valAx>
        <c:axId val="230471984"/>
        <c:scaling>
          <c:orientation val="minMax"/>
          <c:max val="1"/>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dirty="0"/>
                  <a:t>Rule of Law</a:t>
                </a:r>
              </a:p>
            </c:rich>
          </c:tx>
          <c:layout>
            <c:manualLayout>
              <c:xMode val="edge"/>
              <c:yMode val="edge"/>
              <c:x val="8.3800837602659075E-3"/>
              <c:y val="0.4147077882418780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0024"/>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726333699910715E-2"/>
          <c:y val="0.12393952441140518"/>
          <c:w val="0.90594951824880365"/>
          <c:h val="0.76417288318546805"/>
        </c:manualLayout>
      </c:layout>
      <c:scatterChart>
        <c:scatterStyle val="lineMarker"/>
        <c:varyColors val="0"/>
        <c:ser>
          <c:idx val="0"/>
          <c:order val="0"/>
          <c:tx>
            <c:v>Correlation between Anti-Corruption and Quality of Judiciary</c:v>
          </c:tx>
          <c:spPr>
            <a:ln w="25400" cap="rnd">
              <a:noFill/>
              <a:round/>
            </a:ln>
            <a:effectLst/>
          </c:spPr>
          <c:marker>
            <c:symbol val="circle"/>
            <c:size val="3"/>
            <c:spPr>
              <a:solidFill>
                <a:srgbClr val="002060"/>
              </a:solidFill>
              <a:ln w="9525">
                <a:noFill/>
              </a:ln>
              <a:effectLst/>
            </c:spPr>
          </c:marker>
          <c:dLbls>
            <c:dLbl>
              <c:idx val="0"/>
              <c:layout/>
              <c:tx>
                <c:rich>
                  <a:bodyPr/>
                  <a:lstStyle/>
                  <a:p>
                    <a:fld id="{F0E29E1D-819F-4280-9134-BFDF1D654133}" type="CELLRANGE">
                      <a:rPr lang="en-US"/>
                      <a:pPr/>
                      <a:t>[CELLRANGE]</a:t>
                    </a:fld>
                    <a:endParaRPr lang="fr-FR"/>
                  </a:p>
                </c:rich>
              </c:tx>
              <c:dLblPos val="t"/>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D2AD-4F42-A9FE-55364292F2F6}"/>
                </c:ext>
                <c:ext xmlns:c15="http://schemas.microsoft.com/office/drawing/2012/chart" uri="{CE6537A1-D6FC-4f65-9D91-7224C49458BB}">
                  <c15:layout/>
                  <c15:dlblFieldTable/>
                  <c15:showDataLabelsRange val="1"/>
                </c:ext>
              </c:extLst>
            </c:dLbl>
            <c:dLbl>
              <c:idx val="1"/>
              <c:layout>
                <c:manualLayout>
                  <c:x val="-1.3713080168776526E-2"/>
                  <c:y val="-3.4950910744894891E-2"/>
                </c:manualLayout>
              </c:layout>
              <c:tx>
                <c:rich>
                  <a:bodyPr/>
                  <a:lstStyle/>
                  <a:p>
                    <a:fld id="{A4AE31F5-5DF4-46C1-93F3-3BB0D9A031F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D2AD-4F42-A9FE-55364292F2F6}"/>
                </c:ext>
                <c:ext xmlns:c15="http://schemas.microsoft.com/office/drawing/2012/chart" uri="{CE6537A1-D6FC-4f65-9D91-7224C49458BB}">
                  <c15:layout/>
                  <c15:dlblFieldTable/>
                  <c15:showDataLabelsRange val="1"/>
                </c:ext>
              </c:extLst>
            </c:dLbl>
            <c:dLbl>
              <c:idx val="2"/>
              <c:layout/>
              <c:tx>
                <c:rich>
                  <a:bodyPr/>
                  <a:lstStyle/>
                  <a:p>
                    <a:fld id="{267059AB-1BC8-4E5A-87C4-1E33638A754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75E2DF41-572C-4E4B-8C3F-5B1F47E5A16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tx>
                <c:rich>
                  <a:bodyPr/>
                  <a:lstStyle/>
                  <a:p>
                    <a:fld id="{D7F36C30-9542-41A0-A18D-A11FD52FF6C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AB46BA90-CE9C-46AD-A696-C76252E10F3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374BD3F9-15C9-4D18-B2DA-298E59077D6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manualLayout>
                  <c:x val="-3.2383966244725736E-3"/>
                  <c:y val="3.6506752994252128E-2"/>
                </c:manualLayout>
              </c:layout>
              <c:tx>
                <c:rich>
                  <a:bodyPr/>
                  <a:lstStyle/>
                  <a:p>
                    <a:fld id="{7E638846-0C57-4DB9-9F92-1AF7807E8E5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7-D2AD-4F42-A9FE-55364292F2F6}"/>
                </c:ext>
                <c:ext xmlns:c15="http://schemas.microsoft.com/office/drawing/2012/chart" uri="{CE6537A1-D6FC-4f65-9D91-7224C49458BB}">
                  <c15:layout/>
                  <c15:dlblFieldTable/>
                  <c15:showDataLabelsRange val="1"/>
                </c:ext>
              </c:extLst>
            </c:dLbl>
            <c:dLbl>
              <c:idx val="8"/>
              <c:layout>
                <c:manualLayout>
                  <c:x val="-1.6798564736369977E-2"/>
                  <c:y val="-4.186616852610265E-2"/>
                </c:manualLayout>
              </c:layout>
              <c:tx>
                <c:rich>
                  <a:bodyPr/>
                  <a:lstStyle/>
                  <a:p>
                    <a:fld id="{EA1A078F-D599-4A40-BA1F-C63C947380E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8-D2AD-4F42-A9FE-55364292F2F6}"/>
                </c:ext>
                <c:ext xmlns:c15="http://schemas.microsoft.com/office/drawing/2012/chart" uri="{CE6537A1-D6FC-4f65-9D91-7224C49458BB}">
                  <c15:layout/>
                  <c15:dlblFieldTable/>
                  <c15:showDataLabelsRange val="1"/>
                </c:ext>
              </c:extLst>
            </c:dLbl>
            <c:dLbl>
              <c:idx val="9"/>
              <c:layout/>
              <c:tx>
                <c:rich>
                  <a:bodyPr/>
                  <a:lstStyle/>
                  <a:p>
                    <a:fld id="{D3281C6F-8343-4755-AECE-8E6E843AB8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0"/>
                  <c:y val="-2.5730567036617833E-2"/>
                </c:manualLayout>
              </c:layout>
              <c:tx>
                <c:rich>
                  <a:bodyPr/>
                  <a:lstStyle/>
                  <a:p>
                    <a:fld id="{503A5825-F46C-4D77-9A3D-932423A5554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D2AD-4F42-A9FE-55364292F2F6}"/>
                </c:ext>
                <c:ext xmlns:c15="http://schemas.microsoft.com/office/drawing/2012/chart" uri="{CE6537A1-D6FC-4f65-9D91-7224C49458BB}">
                  <c15:layout/>
                  <c15:dlblFieldTable/>
                  <c15:showDataLabelsRange val="1"/>
                </c:ext>
              </c:extLst>
            </c:dLbl>
            <c:dLbl>
              <c:idx val="11"/>
              <c:layout>
                <c:manualLayout>
                  <c:x val="-2.9222067178311571E-2"/>
                  <c:y val="-4.647634038024117E-2"/>
                </c:manualLayout>
              </c:layout>
              <c:tx>
                <c:rich>
                  <a:bodyPr/>
                  <a:lstStyle/>
                  <a:p>
                    <a:fld id="{B460306D-0B35-4E03-869A-73166066E26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D2AD-4F42-A9FE-55364292F2F6}"/>
                </c:ext>
                <c:ext xmlns:c15="http://schemas.microsoft.com/office/drawing/2012/chart" uri="{CE6537A1-D6FC-4f65-9D91-7224C49458BB}">
                  <c15:layout/>
                  <c15:dlblFieldTable/>
                  <c15:showDataLabelsRange val="1"/>
                </c:ext>
              </c:extLst>
            </c:dLbl>
            <c:dLbl>
              <c:idx val="12"/>
              <c:layout/>
              <c:tx>
                <c:rich>
                  <a:bodyPr/>
                  <a:lstStyle/>
                  <a:p>
                    <a:fld id="{D5C61E4C-D4A3-423F-9379-941BF6E8E00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9903B8C2-6CA4-4B80-906E-6BC5C5F02FA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manualLayout>
                  <c:x val="-1.8776371308016878E-3"/>
                  <c:y val="-3.2645824817825631E-2"/>
                </c:manualLayout>
              </c:layout>
              <c:tx>
                <c:rich>
                  <a:bodyPr/>
                  <a:lstStyle/>
                  <a:p>
                    <a:fld id="{1AC09636-615D-45FC-B911-A21713A770A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D2AD-4F42-A9FE-55364292F2F6}"/>
                </c:ext>
                <c:ext xmlns:c15="http://schemas.microsoft.com/office/drawing/2012/chart" uri="{CE6537A1-D6FC-4f65-9D91-7224C49458BB}">
                  <c15:layout/>
                  <c15:dlblFieldTable/>
                  <c15:showDataLabelsRange val="1"/>
                </c:ext>
              </c:extLst>
            </c:dLbl>
            <c:dLbl>
              <c:idx val="15"/>
              <c:layout>
                <c:manualLayout>
                  <c:x val="-1.4048058075019259E-2"/>
                  <c:y val="2.9591495213044348E-2"/>
                </c:manualLayout>
              </c:layout>
              <c:tx>
                <c:rich>
                  <a:bodyPr/>
                  <a:lstStyle/>
                  <a:p>
                    <a:fld id="{006D69BB-52A9-412F-93B7-5C6AD7D0C9E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D2AD-4F42-A9FE-55364292F2F6}"/>
                </c:ext>
                <c:ext xmlns:c15="http://schemas.microsoft.com/office/drawing/2012/chart" uri="{CE6537A1-D6FC-4f65-9D91-7224C49458BB}">
                  <c15:layout/>
                  <c15:dlblFieldTable/>
                  <c15:showDataLabelsRange val="1"/>
                </c:ext>
              </c:extLst>
            </c:dLbl>
            <c:dLbl>
              <c:idx val="16"/>
              <c:layout/>
              <c:tx>
                <c:rich>
                  <a:bodyPr/>
                  <a:lstStyle/>
                  <a:p>
                    <a:fld id="{0ABC9B7F-1D4A-4D69-8BE8-940177C946A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28C00ABF-A504-4EF0-BEEA-AD1089BBB15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manualLayout>
                  <c:x val="-5.1292401740921627E-3"/>
                  <c:y val="1.5760979650628792E-2"/>
                </c:manualLayout>
              </c:layout>
              <c:tx>
                <c:rich>
                  <a:bodyPr/>
                  <a:lstStyle/>
                  <a:p>
                    <a:fld id="{47C19BDE-673B-4E62-8654-0938A3F0126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D2AD-4F42-A9FE-55364292F2F6}"/>
                </c:ext>
                <c:ext xmlns:c15="http://schemas.microsoft.com/office/drawing/2012/chart" uri="{CE6537A1-D6FC-4f65-9D91-7224C49458BB}">
                  <c15:layout/>
                  <c15:dlblFieldTable/>
                  <c15:showDataLabelsRange val="1"/>
                </c:ext>
              </c:extLst>
            </c:dLbl>
            <c:dLbl>
              <c:idx val="19"/>
              <c:layout/>
              <c:tx>
                <c:rich>
                  <a:bodyPr/>
                  <a:lstStyle/>
                  <a:p>
                    <a:fld id="{99FFDC80-CE4F-4A00-9771-7E6B2C908DB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198D71A8-50AE-451C-BC05-37D92887F10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3.8101265822784808E-2"/>
                  <c:y val="-3.264582481782561E-2"/>
                </c:manualLayout>
              </c:layout>
              <c:tx>
                <c:rich>
                  <a:bodyPr/>
                  <a:lstStyle/>
                  <a:p>
                    <a:fld id="{5A3FD70E-63E4-4378-BC9C-66709799CD2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D2AD-4F42-A9FE-55364292F2F6}"/>
                </c:ext>
                <c:ext xmlns:c15="http://schemas.microsoft.com/office/drawing/2012/chart" uri="{CE6537A1-D6FC-4f65-9D91-7224C49458BB}">
                  <c15:layout/>
                  <c15:dlblFieldTable/>
                  <c15:showDataLabelsRange val="1"/>
                </c:ext>
              </c:extLst>
            </c:dLbl>
            <c:dLbl>
              <c:idx val="22"/>
              <c:layout/>
              <c:tx>
                <c:rich>
                  <a:bodyPr/>
                  <a:lstStyle/>
                  <a:p>
                    <a:fld id="{1EA3B587-D358-428B-B566-19893D6CB10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0746DDF1-1E95-4B64-B2BE-77D79E48777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A81527FA-A82B-4262-B61D-0D285980EDF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manualLayout>
                  <c:x val="-6.0901940263796292E-2"/>
                  <c:y val="2.2676237431836613E-2"/>
                </c:manualLayout>
              </c:layout>
              <c:tx>
                <c:rich>
                  <a:bodyPr/>
                  <a:lstStyle/>
                  <a:p>
                    <a:fld id="{3004A821-3D46-40C9-BDA1-61B832868F5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D2AD-4F42-A9FE-55364292F2F6}"/>
                </c:ext>
                <c:ext xmlns:c15="http://schemas.microsoft.com/office/drawing/2012/chart" uri="{CE6537A1-D6FC-4f65-9D91-7224C49458BB}">
                  <c15:layout/>
                  <c15:dlblFieldTable/>
                  <c15:showDataLabelsRange val="1"/>
                </c:ext>
              </c:extLst>
            </c:dLbl>
            <c:dLbl>
              <c:idx val="26"/>
              <c:layout>
                <c:manualLayout>
                  <c:x val="-5.9045981594072891E-3"/>
                  <c:y val="2.728640928597513E-2"/>
                </c:manualLayout>
              </c:layout>
              <c:tx>
                <c:rich>
                  <a:bodyPr/>
                  <a:lstStyle/>
                  <a:p>
                    <a:fld id="{3586FF42-C072-4F01-AEFD-594D5677659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A-D2AD-4F42-A9FE-55364292F2F6}"/>
                </c:ext>
                <c:ext xmlns:c15="http://schemas.microsoft.com/office/drawing/2012/chart" uri="{CE6537A1-D6FC-4f65-9D91-7224C49458BB}">
                  <c15:layout/>
                  <c15:dlblFieldTable/>
                  <c15:showDataLabelsRange val="1"/>
                </c:ext>
              </c:extLst>
            </c:dLbl>
            <c:dLbl>
              <c:idx val="27"/>
              <c:layout/>
              <c:tx>
                <c:rich>
                  <a:bodyPr/>
                  <a:lstStyle/>
                  <a:p>
                    <a:fld id="{80688E64-E08E-4BC5-BE3E-12EFDAC0637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ED2850B3-F857-4A27-84A3-8ECA58935F6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AB1A3A8B-9691-4E99-898F-0BFF65C431C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4563E05A-718E-4D04-9766-1525D6EB2EA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1.254485198843831E-2"/>
                  <c:y val="4.111692484839069E-2"/>
                </c:manualLayout>
              </c:layout>
              <c:tx>
                <c:rich>
                  <a:bodyPr/>
                  <a:lstStyle/>
                  <a:p>
                    <a:fld id="{5DB599CA-09FC-4C9F-ABF1-8C07D40C010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D2AD-4F42-A9FE-55364292F2F6}"/>
                </c:ext>
                <c:ext xmlns:c15="http://schemas.microsoft.com/office/drawing/2012/chart" uri="{CE6537A1-D6FC-4f65-9D91-7224C49458BB}">
                  <c15:layout/>
                  <c15:dlblFieldTable/>
                  <c15:showDataLabelsRange val="1"/>
                </c:ext>
              </c:extLst>
            </c:dLbl>
            <c:dLbl>
              <c:idx val="32"/>
              <c:layout/>
              <c:tx>
                <c:rich>
                  <a:bodyPr/>
                  <a:lstStyle/>
                  <a:p>
                    <a:fld id="{623DED77-9DD3-4EDD-BEAF-3275805A84B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1.0495780590717299E-2"/>
                  <c:y val="-1.1900051474202276E-2"/>
                </c:manualLayout>
              </c:layout>
              <c:tx>
                <c:rich>
                  <a:bodyPr/>
                  <a:lstStyle/>
                  <a:p>
                    <a:fld id="{40C7AC05-EEBD-4E28-91BF-89FAE5F57DE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D2AD-4F42-A9FE-55364292F2F6}"/>
                </c:ext>
                <c:ext xmlns:c15="http://schemas.microsoft.com/office/drawing/2012/chart" uri="{CE6537A1-D6FC-4f65-9D91-7224C49458BB}">
                  <c15:layout/>
                  <c15:dlblFieldTable/>
                  <c15:showDataLabelsRange val="1"/>
                </c:ext>
              </c:extLst>
            </c:dLbl>
            <c:dLbl>
              <c:idx val="34"/>
              <c:layout>
                <c:manualLayout>
                  <c:x val="-2.1861855875610486E-2"/>
                  <c:y val="-2.5730567036617833E-2"/>
                </c:manualLayout>
              </c:layout>
              <c:tx>
                <c:rich>
                  <a:bodyPr/>
                  <a:lstStyle/>
                  <a:p>
                    <a:fld id="{E23D58E3-6993-4814-BC17-05E7DCB2CCA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D2AD-4F42-A9FE-55364292F2F6}"/>
                </c:ext>
                <c:ext xmlns:c15="http://schemas.microsoft.com/office/drawing/2012/chart" uri="{CE6537A1-D6FC-4f65-9D91-7224C49458BB}">
                  <c15:layout/>
                  <c15:dlblFieldTable/>
                  <c15:showDataLabelsRange val="1"/>
                </c:ext>
              </c:extLst>
            </c:dLbl>
            <c:dLbl>
              <c:idx val="35"/>
              <c:layout/>
              <c:tx>
                <c:rich>
                  <a:bodyPr/>
                  <a:lstStyle/>
                  <a:p>
                    <a:fld id="{52BFAFE7-DEDA-4C74-B307-820B02C364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6"/>
              <c:layout>
                <c:manualLayout>
                  <c:x val="-8.6007425495863668E-2"/>
                  <c:y val="-2.3425481109548573E-2"/>
                </c:manualLayout>
              </c:layout>
              <c:tx>
                <c:rich>
                  <a:bodyPr/>
                  <a:lstStyle/>
                  <a:p>
                    <a:fld id="{ED8C98F4-3D8F-40F6-BBCE-1FDCB9EE4C1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D2AD-4F42-A9FE-55364292F2F6}"/>
                </c:ext>
                <c:ext xmlns:c15="http://schemas.microsoft.com/office/drawing/2012/chart" uri="{CE6537A1-D6FC-4f65-9D91-7224C49458BB}">
                  <c15:layout/>
                  <c15:dlblFieldTable/>
                  <c15:showDataLabelsRange val="1"/>
                </c:ext>
              </c:extLst>
            </c:dLbl>
            <c:dLbl>
              <c:idx val="37"/>
              <c:layout>
                <c:manualLayout>
                  <c:x val="-3.8328100601348884E-2"/>
                  <c:y val="-3.495091074489487E-2"/>
                </c:manualLayout>
              </c:layout>
              <c:tx>
                <c:rich>
                  <a:bodyPr/>
                  <a:lstStyle/>
                  <a:p>
                    <a:fld id="{AB0D6CB1-F44D-4854-A2D1-39281A0FD43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5-D2AD-4F42-A9FE-55364292F2F6}"/>
                </c:ext>
                <c:ext xmlns:c15="http://schemas.microsoft.com/office/drawing/2012/chart" uri="{CE6537A1-D6FC-4f65-9D91-7224C49458BB}">
                  <c15:layout/>
                  <c15:dlblFieldTable/>
                  <c15:showDataLabelsRange val="1"/>
                </c:ext>
              </c:extLst>
            </c:dLbl>
            <c:dLbl>
              <c:idx val="38"/>
              <c:layout/>
              <c:tx>
                <c:rich>
                  <a:bodyPr/>
                  <a:lstStyle/>
                  <a:p>
                    <a:fld id="{22B8B6E3-60E1-472F-82C1-AFD28F3795B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manualLayout>
                  <c:x val="-1.253430346523148E-2"/>
                  <c:y val="2.4981323358905873E-2"/>
                </c:manualLayout>
              </c:layout>
              <c:tx>
                <c:rich>
                  <a:bodyPr/>
                  <a:lstStyle/>
                  <a:p>
                    <a:fld id="{D476FE40-B19E-461B-BB8D-A9FE27F2A82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D2AD-4F42-A9FE-55364292F2F6}"/>
                </c:ext>
                <c:ext xmlns:c15="http://schemas.microsoft.com/office/drawing/2012/chart" uri="{CE6537A1-D6FC-4f65-9D91-7224C49458BB}">
                  <c15:layout/>
                  <c15:dlblFieldTable/>
                  <c15:showDataLabelsRange val="1"/>
                </c:ext>
              </c:extLst>
            </c:dLbl>
            <c:dLbl>
              <c:idx val="40"/>
              <c:layout>
                <c:manualLayout>
                  <c:x val="8.6682281803382166E-3"/>
                  <c:y val="-2.5730567036617916E-2"/>
                </c:manualLayout>
              </c:layout>
              <c:tx>
                <c:rich>
                  <a:bodyPr/>
                  <a:lstStyle/>
                  <a:p>
                    <a:fld id="{767CE6DA-33C3-4078-86CA-956A882D64B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8-D2AD-4F42-A9FE-55364292F2F6}"/>
                </c:ext>
                <c:ext xmlns:c15="http://schemas.microsoft.com/office/drawing/2012/chart" uri="{CE6537A1-D6FC-4f65-9D91-7224C49458BB}">
                  <c15:layout/>
                  <c15:dlblFieldTable/>
                  <c15:showDataLabelsRange val="1"/>
                </c:ext>
              </c:extLst>
            </c:dLbl>
            <c:dLbl>
              <c:idx val="41"/>
              <c:layout/>
              <c:tx>
                <c:rich>
                  <a:bodyPr/>
                  <a:lstStyle/>
                  <a:p>
                    <a:fld id="{AADD96F6-12B0-43F0-962C-D808B0E8F34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3.30168776371308E-3"/>
                  <c:y val="2.2676237431836613E-2"/>
                </c:manualLayout>
              </c:layout>
              <c:tx>
                <c:rich>
                  <a:bodyPr/>
                  <a:lstStyle/>
                  <a:p>
                    <a:fld id="{6EC57C3D-812B-43BC-A355-E5CCCBDB6AF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D2AD-4F42-A9FE-55364292F2F6}"/>
                </c:ext>
                <c:ext xmlns:c15="http://schemas.microsoft.com/office/drawing/2012/chart" uri="{CE6537A1-D6FC-4f65-9D91-7224C49458BB}">
                  <c15:layout/>
                  <c15:dlblFieldTable/>
                  <c15:showDataLabelsRange val="1"/>
                </c:ext>
              </c:extLst>
            </c:dLbl>
            <c:dLbl>
              <c:idx val="43"/>
              <c:layout/>
              <c:tx>
                <c:rich>
                  <a:bodyPr/>
                  <a:lstStyle/>
                  <a:p>
                    <a:fld id="{E377849D-4959-43D2-A232-83A57344684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4"/>
              <c:layout>
                <c:manualLayout>
                  <c:x val="-6.8317552078142288E-2"/>
                  <c:y val="-2.8035652963687114E-2"/>
                </c:manualLayout>
              </c:layout>
              <c:tx>
                <c:rich>
                  <a:bodyPr/>
                  <a:lstStyle/>
                  <a:p>
                    <a:fld id="{741CD627-6E51-4899-A439-0B584AAF03F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D2AD-4F42-A9FE-55364292F2F6}"/>
                </c:ext>
                <c:ext xmlns:c15="http://schemas.microsoft.com/office/drawing/2012/chart" uri="{CE6537A1-D6FC-4f65-9D91-7224C49458BB}">
                  <c15:layout/>
                  <c15:dlblFieldTable/>
                  <c15:showDataLabelsRange val="1"/>
                </c:ext>
              </c:extLst>
            </c:dLbl>
            <c:dLbl>
              <c:idx val="45"/>
              <c:layout>
                <c:manualLayout>
                  <c:x val="-4.0419366091896738E-2"/>
                  <c:y val="-3.956108259903339E-2"/>
                </c:manualLayout>
              </c:layout>
              <c:tx>
                <c:rich>
                  <a:bodyPr/>
                  <a:lstStyle/>
                  <a:p>
                    <a:fld id="{4C231601-9F94-49D5-BC2B-C3D899D5344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D2AD-4F42-A9FE-55364292F2F6}"/>
                </c:ext>
                <c:ext xmlns:c15="http://schemas.microsoft.com/office/drawing/2012/chart" uri="{CE6537A1-D6FC-4f65-9D91-7224C49458BB}">
                  <c15:layout/>
                  <c15:dlblFieldTable/>
                  <c15:showDataLabelsRange val="1"/>
                </c:ext>
              </c:extLst>
            </c:dLbl>
            <c:dLbl>
              <c:idx val="46"/>
              <c:layout/>
              <c:tx>
                <c:rich>
                  <a:bodyPr/>
                  <a:lstStyle/>
                  <a:p>
                    <a:fld id="{DEE92C16-8E8A-46EF-A10A-9215FB69636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7"/>
              <c:layout/>
              <c:tx>
                <c:rich>
                  <a:bodyPr/>
                  <a:lstStyle/>
                  <a:p>
                    <a:fld id="{88B1EEBA-79C3-4255-94A9-934C6A93723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8"/>
              <c:layout>
                <c:manualLayout>
                  <c:x val="-1.2244260606664673E-2"/>
                  <c:y val="-2.5730567036617875E-2"/>
                </c:manualLayout>
              </c:layout>
              <c:tx>
                <c:rich>
                  <a:bodyPr/>
                  <a:lstStyle/>
                  <a:p>
                    <a:fld id="{9B2E5D97-3C1A-49EF-B5F6-40BCFFC0C9A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0-D2AD-4F42-A9FE-55364292F2F6}"/>
                </c:ext>
                <c:ext xmlns:c15="http://schemas.microsoft.com/office/drawing/2012/chart" uri="{CE6537A1-D6FC-4f65-9D91-7224C49458BB}">
                  <c15:layout/>
                  <c15:dlblFieldTable/>
                  <c15:showDataLabelsRange val="1"/>
                </c:ext>
              </c:extLst>
            </c:dLbl>
            <c:dLbl>
              <c:idx val="49"/>
              <c:layout>
                <c:manualLayout>
                  <c:x val="-2.9454134688860094E-2"/>
                  <c:y val="-6.2611941869725976E-2"/>
                </c:manualLayout>
              </c:layout>
              <c:tx>
                <c:rich>
                  <a:bodyPr/>
                  <a:lstStyle/>
                  <a:p>
                    <a:fld id="{0A5F3455-7E16-4117-854D-0A200674CC9C}"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D2AD-4F42-A9FE-55364292F2F6}"/>
                </c:ext>
                <c:ext xmlns:c15="http://schemas.microsoft.com/office/drawing/2012/chart" uri="{CE6537A1-D6FC-4f65-9D91-7224C49458BB}">
                  <c15:layout/>
                  <c15:dlblFieldTable/>
                  <c15:showDataLabelsRange val="1"/>
                </c:ext>
              </c:extLst>
            </c:dLbl>
            <c:dLbl>
              <c:idx val="50"/>
              <c:layout>
                <c:manualLayout>
                  <c:x val="-3.6484766935778637E-2"/>
                  <c:y val="-4.647634038024117E-2"/>
                </c:manualLayout>
              </c:layout>
              <c:tx>
                <c:rich>
                  <a:bodyPr/>
                  <a:lstStyle/>
                  <a:p>
                    <a:fld id="{AA8CA53E-84AE-4D5C-AF61-39CE5C315F6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2-D2AD-4F42-A9FE-55364292F2F6}"/>
                </c:ext>
                <c:ext xmlns:c15="http://schemas.microsoft.com/office/drawing/2012/chart" uri="{CE6537A1-D6FC-4f65-9D91-7224C49458BB}">
                  <c15:layout/>
                  <c15:dlblFieldTable/>
                  <c15:showDataLabelsRange val="1"/>
                </c:ext>
              </c:extLst>
            </c:dLbl>
            <c:dLbl>
              <c:idx val="51"/>
              <c:layout/>
              <c:tx>
                <c:rich>
                  <a:bodyPr/>
                  <a:lstStyle/>
                  <a:p>
                    <a:fld id="{430214C8-B26B-46BF-B02F-AE4B5D16D39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2"/>
              <c:layout>
                <c:manualLayout>
                  <c:x val="-3.4269577062360876E-2"/>
                  <c:y val="-3.0340738890756395E-2"/>
                </c:manualLayout>
              </c:layout>
              <c:tx>
                <c:rich>
                  <a:bodyPr/>
                  <a:lstStyle/>
                  <a:p>
                    <a:fld id="{16D92617-AD03-4042-9129-FC13799679D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4-D2AD-4F42-A9FE-55364292F2F6}"/>
                </c:ext>
                <c:ext xmlns:c15="http://schemas.microsoft.com/office/drawing/2012/chart" uri="{CE6537A1-D6FC-4f65-9D91-7224C49458BB}">
                  <c15:layout/>
                  <c15:dlblFieldTable/>
                  <c15:showDataLabelsRange val="1"/>
                </c:ext>
              </c:extLst>
            </c:dLbl>
            <c:dLbl>
              <c:idx val="53"/>
              <c:layout/>
              <c:tx>
                <c:rich>
                  <a:bodyPr/>
                  <a:lstStyle/>
                  <a:p>
                    <a:fld id="{9B0C14CA-30FB-49F0-809F-02B2E733255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4"/>
              <c:layout/>
              <c:tx>
                <c:rich>
                  <a:bodyPr/>
                  <a:lstStyle/>
                  <a:p>
                    <a:fld id="{B1C9BDFE-598C-491A-A541-CFDB68CE8B7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5"/>
              <c:layout/>
              <c:tx>
                <c:rich>
                  <a:bodyPr/>
                  <a:lstStyle/>
                  <a:p>
                    <a:fld id="{45A8E0CE-63CF-48C1-961E-B6B6726A847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6"/>
              <c:layout>
                <c:manualLayout>
                  <c:x val="-3.90561148210904E-3"/>
                  <c:y val="-2.6797077659253244E-3"/>
                </c:manualLayout>
              </c:layout>
              <c:tx>
                <c:rich>
                  <a:bodyPr/>
                  <a:lstStyle/>
                  <a:p>
                    <a:fld id="{6D189E03-2E9C-460B-A593-95572A56767A}"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8-D2AD-4F42-A9FE-55364292F2F6}"/>
                </c:ext>
                <c:ext xmlns:c15="http://schemas.microsoft.com/office/drawing/2012/chart" uri="{CE6537A1-D6FC-4f65-9D91-7224C49458BB}">
                  <c15:layout/>
                  <c15:dlblFieldTable/>
                  <c15:showDataLabelsRange val="1"/>
                </c:ext>
              </c:extLst>
            </c:dLbl>
            <c:dLbl>
              <c:idx val="57"/>
              <c:layout/>
              <c:tx>
                <c:rich>
                  <a:bodyPr/>
                  <a:lstStyle/>
                  <a:p>
                    <a:fld id="{44016C81-68AE-4B50-A4A0-91A6BF4482B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tx>
                <c:rich>
                  <a:bodyPr/>
                  <a:lstStyle/>
                  <a:p>
                    <a:fld id="{5B60A0AC-BF0B-4FED-9E51-600DBD60324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9"/>
              <c:layout>
                <c:manualLayout>
                  <c:x val="-1.0060716302867244E-2"/>
                  <c:y val="-2.5730567036617833E-2"/>
                </c:manualLayout>
              </c:layout>
              <c:tx>
                <c:rich>
                  <a:bodyPr/>
                  <a:lstStyle/>
                  <a:p>
                    <a:fld id="{8655D70E-0C1E-4441-AE56-30276DDB287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D2AD-4F42-A9FE-55364292F2F6}"/>
                </c:ext>
                <c:ext xmlns:c15="http://schemas.microsoft.com/office/drawing/2012/chart" uri="{CE6537A1-D6FC-4f65-9D91-7224C49458BB}">
                  <c15:layout/>
                  <c15:dlblFieldTable/>
                  <c15:showDataLabelsRange val="1"/>
                </c:ext>
              </c:extLst>
            </c:dLbl>
            <c:dLbl>
              <c:idx val="60"/>
              <c:layout/>
              <c:tx>
                <c:rich>
                  <a:bodyPr/>
                  <a:lstStyle/>
                  <a:p>
                    <a:fld id="{8FF0350E-8D81-437F-A624-F55AE8C67F9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401F0BA0-5BA6-4A53-AF7B-33CEC828543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12018FA6-8E73-4DA1-8A5A-DBE1EBE8436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D00DB2B4-0660-4160-9789-90A4F115900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E3CF2600-5EE7-441B-860D-92F8EA8B03B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2FAF6209-186D-4F85-AFC3-D7EEFEF9310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43769759-0096-44AF-B7BE-408883BA9B3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C298F923-32DF-4650-8EA2-C518221BF7E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EB04B533-229A-48F1-B13E-791013DDCD4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16C87177-D99F-4786-B509-22480CA129D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04D8D77B-F9C5-465A-A576-2C234659D4F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1362FE39-B0B5-4D12-8DF1-5E38A942711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B15001F8-E7B3-40A1-800A-DFBE09D2377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F366C0C2-6D73-48D0-8568-ED5BC8D49F5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CB943ED0-CC5E-4393-8DE2-E91FF8B828E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751B0D45-23E9-453F-8E1F-B4360811109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3F98AFD9-771E-4714-AABE-100BD7A3A13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6F824110-2BA9-4C2C-A206-0516F18B939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0BC82339-DF94-4AEF-A2DD-9DB672253B3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42DE4429-B2E6-4A7D-A4C4-F4303ECB45E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0CBE24FE-5780-41BC-A5EC-5759566483D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3E6B1671-66D4-4A73-899F-456690C7EAA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FEFF9202-8F83-4C7C-A258-57E8E8F8AA8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EE774515-6F43-4EBC-8B36-A3CA461AAF7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61BC8638-D111-489B-947F-0B5F7D55FA3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834F0A2D-6877-4C18-B6AD-3428AB7D4E5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7F76738E-41D2-4782-88C9-7A43E8833E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F770E2C3-F35E-4393-BBF2-8657555941C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B658A13E-D04E-45C0-9A6C-A4CB8DE2CED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FF82BAA9-0820-47C3-83BF-3EEF55CB0D7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FF448356-BFBC-4CFD-9822-E8FB6DCB497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83F08F02-F758-4EF9-9CCD-7956F4C8D7E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ECC8EB01-5579-4046-9475-3D3FDB1CAC1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597C5DFE-72B0-4359-BB9B-3E8D61C0C51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5750E8E9-9984-4CA8-877D-427644BFEDE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2E177DFA-42B6-4D4D-993C-1B58C9F32B0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FA9FB353-FC61-437A-A27F-CB21EC28EE1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DD52D0B0-B4BD-4399-87E8-CBE23646907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2F13B7B8-C2E5-4500-A466-DB1E5DCCF2E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32BD5132-86E6-47AB-AB0A-AE45BF6EADC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3127E3AB-5E99-4644-9151-F190B75F22E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18A02709-2F00-4DCA-8145-C16E93890B9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H$3:$H$104</c:f>
              <c:numCache>
                <c:formatCode>0.000</c:formatCode>
                <c:ptCount val="102"/>
                <c:pt idx="0">
                  <c:v>1</c:v>
                </c:pt>
                <c:pt idx="1">
                  <c:v>0.82622432406712421</c:v>
                </c:pt>
                <c:pt idx="2">
                  <c:v>0.74946352749160916</c:v>
                </c:pt>
                <c:pt idx="3">
                  <c:v>0.75876524229652664</c:v>
                </c:pt>
                <c:pt idx="4">
                  <c:v>0.78988580946384734</c:v>
                </c:pt>
                <c:pt idx="5">
                  <c:v>0.79678376022379438</c:v>
                </c:pt>
                <c:pt idx="6">
                  <c:v>0.89535554403878825</c:v>
                </c:pt>
                <c:pt idx="7">
                  <c:v>0.70645677861293166</c:v>
                </c:pt>
                <c:pt idx="8">
                  <c:v>0.74107244820151474</c:v>
                </c:pt>
                <c:pt idx="9">
                  <c:v>0.50890741605455125</c:v>
                </c:pt>
                <c:pt idx="10">
                  <c:v>0.89174164289495095</c:v>
                </c:pt>
                <c:pt idx="11">
                  <c:v>0.91342335995739421</c:v>
                </c:pt>
                <c:pt idx="12">
                  <c:v>0.27682237095890011</c:v>
                </c:pt>
                <c:pt idx="13">
                  <c:v>0.37461005763644606</c:v>
                </c:pt>
                <c:pt idx="14">
                  <c:v>0.81845121937230592</c:v>
                </c:pt>
                <c:pt idx="15">
                  <c:v>0.73645222468642491</c:v>
                </c:pt>
                <c:pt idx="16">
                  <c:v>0.3910372856099531</c:v>
                </c:pt>
                <c:pt idx="17">
                  <c:v>0.68963789366734041</c:v>
                </c:pt>
                <c:pt idx="18">
                  <c:v>0.75277685373849446</c:v>
                </c:pt>
                <c:pt idx="19">
                  <c:v>0.75814265814474857</c:v>
                </c:pt>
                <c:pt idx="20">
                  <c:v>0.71662059287849811</c:v>
                </c:pt>
                <c:pt idx="21">
                  <c:v>0.4816282652420002</c:v>
                </c:pt>
                <c:pt idx="22">
                  <c:v>0.51650461067378017</c:v>
                </c:pt>
                <c:pt idx="23">
                  <c:v>0.49843372480800929</c:v>
                </c:pt>
                <c:pt idx="24">
                  <c:v>0.36389553295447674</c:v>
                </c:pt>
                <c:pt idx="25">
                  <c:v>0.80787132910217729</c:v>
                </c:pt>
                <c:pt idx="26">
                  <c:v>0.62949348505388492</c:v>
                </c:pt>
                <c:pt idx="27">
                  <c:v>0.27651660832917263</c:v>
                </c:pt>
                <c:pt idx="28">
                  <c:v>0.35226193067503619</c:v>
                </c:pt>
                <c:pt idx="29">
                  <c:v>0.32674625239149546</c:v>
                </c:pt>
                <c:pt idx="30">
                  <c:v>0.74729832555956444</c:v>
                </c:pt>
                <c:pt idx="31">
                  <c:v>0.78167752432613924</c:v>
                </c:pt>
                <c:pt idx="32">
                  <c:v>0.4439536572046841</c:v>
                </c:pt>
                <c:pt idx="33">
                  <c:v>0.42122750129054615</c:v>
                </c:pt>
                <c:pt idx="34">
                  <c:v>0.507614508139552</c:v>
                </c:pt>
                <c:pt idx="35">
                  <c:v>0.75086568822864086</c:v>
                </c:pt>
                <c:pt idx="36">
                  <c:v>0.39189855983922878</c:v>
                </c:pt>
                <c:pt idx="37">
                  <c:v>0.56919595241647558</c:v>
                </c:pt>
                <c:pt idx="38">
                  <c:v>0.55017455593357134</c:v>
                </c:pt>
                <c:pt idx="39">
                  <c:v>0.42657635593334242</c:v>
                </c:pt>
                <c:pt idx="40">
                  <c:v>0.33618664901769202</c:v>
                </c:pt>
                <c:pt idx="41">
                  <c:v>0.49027676890105998</c:v>
                </c:pt>
                <c:pt idx="42">
                  <c:v>0.46944579787476542</c:v>
                </c:pt>
                <c:pt idx="43">
                  <c:v>0.64686572353156535</c:v>
                </c:pt>
                <c:pt idx="44">
                  <c:v>0.84627903419294603</c:v>
                </c:pt>
                <c:pt idx="45">
                  <c:v>0.48718824752570922</c:v>
                </c:pt>
                <c:pt idx="46">
                  <c:v>0.65448060351792736</c:v>
                </c:pt>
                <c:pt idx="47">
                  <c:v>0.36925884584864432</c:v>
                </c:pt>
                <c:pt idx="48">
                  <c:v>0.66603335866854896</c:v>
                </c:pt>
                <c:pt idx="49">
                  <c:v>0.36702873657980639</c:v>
                </c:pt>
                <c:pt idx="50">
                  <c:v>0.62915349100724238</c:v>
                </c:pt>
                <c:pt idx="51">
                  <c:v>0.55425611641021422</c:v>
                </c:pt>
                <c:pt idx="52">
                  <c:v>0.68633299980662632</c:v>
                </c:pt>
                <c:pt idx="53">
                  <c:v>0.42705046556262694</c:v>
                </c:pt>
                <c:pt idx="54">
                  <c:v>0.49603070520306547</c:v>
                </c:pt>
                <c:pt idx="55">
                  <c:v>0.5751422059040775</c:v>
                </c:pt>
                <c:pt idx="56">
                  <c:v>0.59588520348924989</c:v>
                </c:pt>
                <c:pt idx="57">
                  <c:v>0.62299163690412729</c:v>
                </c:pt>
                <c:pt idx="58">
                  <c:v>0.60366753484384805</c:v>
                </c:pt>
                <c:pt idx="59">
                  <c:v>0.20471782893536425</c:v>
                </c:pt>
                <c:pt idx="60">
                  <c:v>0</c:v>
                </c:pt>
                <c:pt idx="61">
                  <c:v>0.32256494287424409</c:v>
                </c:pt>
                <c:pt idx="62">
                  <c:v>0.13522757763529758</c:v>
                </c:pt>
                <c:pt idx="63">
                  <c:v>0.32444307169189091</c:v>
                </c:pt>
                <c:pt idx="64">
                  <c:v>0.33578416731517108</c:v>
                </c:pt>
                <c:pt idx="65">
                  <c:v>0.29753272126024499</c:v>
                </c:pt>
                <c:pt idx="66">
                  <c:v>0.30900860051998552</c:v>
                </c:pt>
                <c:pt idx="67">
                  <c:v>0.61105769543989341</c:v>
                </c:pt>
                <c:pt idx="68">
                  <c:v>0.33587982517835302</c:v>
                </c:pt>
                <c:pt idx="69">
                  <c:v>0.32572605371323443</c:v>
                </c:pt>
                <c:pt idx="70">
                  <c:v>0.23587988024097956</c:v>
                </c:pt>
                <c:pt idx="71">
                  <c:v>0.26545087377481125</c:v>
                </c:pt>
                <c:pt idx="72">
                  <c:v>0.39810471665551805</c:v>
                </c:pt>
                <c:pt idx="73">
                  <c:v>0.34783097262565427</c:v>
                </c:pt>
                <c:pt idx="74">
                  <c:v>0.53565157832553822</c:v>
                </c:pt>
                <c:pt idx="75">
                  <c:v>0.36247996274880989</c:v>
                </c:pt>
                <c:pt idx="76">
                  <c:v>0.63007274474648189</c:v>
                </c:pt>
                <c:pt idx="77">
                  <c:v>0.26004855492204482</c:v>
                </c:pt>
                <c:pt idx="78">
                  <c:v>0.40597775443712469</c:v>
                </c:pt>
                <c:pt idx="79">
                  <c:v>0.25617456233180214</c:v>
                </c:pt>
                <c:pt idx="80">
                  <c:v>0.36200907293993156</c:v>
                </c:pt>
                <c:pt idx="81">
                  <c:v>0.23838024532161878</c:v>
                </c:pt>
                <c:pt idx="82">
                  <c:v>0.31054728104446683</c:v>
                </c:pt>
                <c:pt idx="83">
                  <c:v>0.15311919815570746</c:v>
                </c:pt>
                <c:pt idx="84">
                  <c:v>0.35716023843253097</c:v>
                </c:pt>
                <c:pt idx="85">
                  <c:v>0.475288934546096</c:v>
                </c:pt>
                <c:pt idx="86">
                  <c:v>0.49773455505839059</c:v>
                </c:pt>
                <c:pt idx="87">
                  <c:v>0.295998112694426</c:v>
                </c:pt>
                <c:pt idx="88">
                  <c:v>0.48104292244297764</c:v>
                </c:pt>
                <c:pt idx="89">
                  <c:v>0.35032913611845196</c:v>
                </c:pt>
                <c:pt idx="90">
                  <c:v>0.24101769224714981</c:v>
                </c:pt>
                <c:pt idx="91">
                  <c:v>0.42689448938772623</c:v>
                </c:pt>
                <c:pt idx="92">
                  <c:v>0.32114259422136593</c:v>
                </c:pt>
                <c:pt idx="93">
                  <c:v>0.54216296100127004</c:v>
                </c:pt>
                <c:pt idx="94">
                  <c:v>0.50517933617263633</c:v>
                </c:pt>
                <c:pt idx="95">
                  <c:v>0.54103737188515</c:v>
                </c:pt>
                <c:pt idx="96">
                  <c:v>0.46340864336358312</c:v>
                </c:pt>
                <c:pt idx="97">
                  <c:v>0.19273119446083231</c:v>
                </c:pt>
                <c:pt idx="98">
                  <c:v>0.68074013395578692</c:v>
                </c:pt>
                <c:pt idx="99">
                  <c:v>0.758473406010022</c:v>
                </c:pt>
                <c:pt idx="100">
                  <c:v>0.68104697731328168</c:v>
                </c:pt>
                <c:pt idx="101">
                  <c:v>0.49681733833579339</c:v>
                </c:pt>
              </c:numCache>
            </c:numRef>
          </c:yVal>
          <c:smooth val="0"/>
          <c:extLst xmlns:c16r2="http://schemas.microsoft.com/office/drawing/2015/06/chart">
            <c:ext xmlns:c16="http://schemas.microsoft.com/office/drawing/2014/chart" uri="{C3380CC4-5D6E-409C-BE32-E72D297353CC}">
              <c16:uniqueId val="{00000067-D2AD-4F42-A9FE-55364292F2F6}"/>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dLblPos val="t"/>
          <c:showLegendKey val="0"/>
          <c:showVal val="1"/>
          <c:showCatName val="0"/>
          <c:showSerName val="0"/>
          <c:showPercent val="0"/>
          <c:showBubbleSize val="0"/>
        </c:dLbls>
        <c:axId val="230477080"/>
        <c:axId val="230472768"/>
      </c:scatterChart>
      <c:valAx>
        <c:axId val="230477080"/>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2768"/>
        <c:crosses val="autoZero"/>
        <c:crossBetween val="midCat"/>
      </c:valAx>
      <c:valAx>
        <c:axId val="230472768"/>
        <c:scaling>
          <c:orientation val="minMax"/>
          <c:max val="1"/>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Quality</a:t>
                </a:r>
                <a:r>
                  <a:rPr lang="en-SG" sz="1100" baseline="0"/>
                  <a:t> of Judiciary</a:t>
                </a:r>
                <a:endParaRPr lang="en-SG" sz="1100"/>
              </a:p>
            </c:rich>
          </c:tx>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7080"/>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Gill Sans Std Light" panose="020B0302020104020203" pitchFamily="34" charset="0"/>
              <a:ea typeface="+mn-ea"/>
              <a:cs typeface="+mn-cs"/>
            </a:defRPr>
          </a:pPr>
          <a:endParaRPr lang="fr-FR"/>
        </a:p>
      </c:txPr>
    </c:title>
    <c:autoTitleDeleted val="0"/>
    <c:plotArea>
      <c:layout>
        <c:manualLayout>
          <c:layoutTarget val="inner"/>
          <c:xMode val="edge"/>
          <c:yMode val="edge"/>
          <c:x val="7.0732702368260306E-2"/>
          <c:y val="0.12393955125402105"/>
          <c:w val="0.90164721103369927"/>
          <c:h val="0.76417283211042386"/>
        </c:manualLayout>
      </c:layout>
      <c:scatterChart>
        <c:scatterStyle val="lineMarker"/>
        <c:varyColors val="0"/>
        <c:ser>
          <c:idx val="0"/>
          <c:order val="0"/>
          <c:tx>
            <c:v>Correlation between Anti-Corruption and Strong Institutions Pillar</c:v>
          </c:tx>
          <c:spPr>
            <a:ln w="25400" cap="rnd">
              <a:noFill/>
              <a:round/>
            </a:ln>
            <a:effectLst/>
          </c:spPr>
          <c:marker>
            <c:symbol val="circle"/>
            <c:size val="3"/>
            <c:spPr>
              <a:solidFill>
                <a:srgbClr val="002060"/>
              </a:solidFill>
              <a:ln w="9525">
                <a:noFill/>
              </a:ln>
              <a:effectLst/>
            </c:spPr>
          </c:marker>
          <c:dLbls>
            <c:dLbl>
              <c:idx val="0"/>
              <c:layout/>
              <c:tx>
                <c:rich>
                  <a:bodyPr/>
                  <a:lstStyle/>
                  <a:p>
                    <a:fld id="{3A9C3494-1AA9-4EA3-9162-A09D8B8307BD}" type="CELLRANGE">
                      <a:rPr lang="en-US"/>
                      <a:pPr/>
                      <a:t>[CELLRANGE]</a:t>
                    </a:fld>
                    <a:endParaRPr lang="fr-FR"/>
                  </a:p>
                </c:rich>
              </c:tx>
              <c:dLblPos val="t"/>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3323-4D58-96AA-9006918761F0}"/>
                </c:ext>
                <c:ext xmlns:c15="http://schemas.microsoft.com/office/drawing/2012/chart" uri="{CE6537A1-D6FC-4f65-9D91-7224C49458BB}">
                  <c15:layout/>
                  <c15:dlblFieldTable/>
                  <c15:showDataLabelsRange val="1"/>
                </c:ext>
              </c:extLst>
            </c:dLbl>
            <c:dLbl>
              <c:idx val="1"/>
              <c:layout>
                <c:manualLayout>
                  <c:x val="0"/>
                  <c:y val="3.0260857815396072E-2"/>
                </c:manualLayout>
              </c:layout>
              <c:tx>
                <c:rich>
                  <a:bodyPr/>
                  <a:lstStyle/>
                  <a:p>
                    <a:fld id="{8D0CFB17-FBE2-45AE-9C93-B24283CEECD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3323-4D58-96AA-9006918761F0}"/>
                </c:ext>
                <c:ext xmlns:c15="http://schemas.microsoft.com/office/drawing/2012/chart" uri="{CE6537A1-D6FC-4f65-9D91-7224C49458BB}">
                  <c15:layout/>
                  <c15:dlblFieldTable/>
                  <c15:showDataLabelsRange val="1"/>
                </c:ext>
              </c:extLst>
            </c:dLbl>
            <c:dLbl>
              <c:idx val="2"/>
              <c:layout/>
              <c:tx>
                <c:rich>
                  <a:bodyPr/>
                  <a:lstStyle/>
                  <a:p>
                    <a:fld id="{A434B242-03F5-4734-8BDD-1C17663CE7D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tx>
                <c:rich>
                  <a:bodyPr/>
                  <a:lstStyle/>
                  <a:p>
                    <a:fld id="{5F6D6E41-BE93-4021-9FF8-96F6AEF0554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
              <c:layout>
                <c:manualLayout>
                  <c:x val="-5.9340780928415021E-2"/>
                  <c:y val="-2.159814064887973E-2"/>
                </c:manualLayout>
              </c:layout>
              <c:tx>
                <c:rich>
                  <a:bodyPr/>
                  <a:lstStyle/>
                  <a:p>
                    <a:fld id="{9553DCD0-82F8-446E-AE90-6EC9F4E5595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3323-4D58-96AA-9006918761F0}"/>
                </c:ext>
                <c:ext xmlns:c15="http://schemas.microsoft.com/office/drawing/2012/chart" uri="{CE6537A1-D6FC-4f65-9D91-7224C49458BB}">
                  <c15:layout/>
                  <c15:dlblFieldTable/>
                  <c15:showDataLabelsRange val="1"/>
                </c:ext>
              </c:extLst>
            </c:dLbl>
            <c:dLbl>
              <c:idx val="5"/>
              <c:layout/>
              <c:tx>
                <c:rich>
                  <a:bodyPr/>
                  <a:lstStyle/>
                  <a:p>
                    <a:fld id="{48165C0C-5D68-4951-B78E-F27DD685E78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33253301-86E6-4AE9-873D-F36BE49AC34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tx>
                <c:rich>
                  <a:bodyPr/>
                  <a:lstStyle/>
                  <a:p>
                    <a:fld id="{4240E45A-25B5-4009-8AB1-3D108A08D66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
              <c:layout/>
              <c:tx>
                <c:rich>
                  <a:bodyPr/>
                  <a:lstStyle/>
                  <a:p>
                    <a:fld id="{3052C54C-CD82-45BC-A063-2FD187DC906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
              <c:layout/>
              <c:tx>
                <c:rich>
                  <a:bodyPr/>
                  <a:lstStyle/>
                  <a:p>
                    <a:fld id="{E4DC8FE3-BDBB-4391-A1BE-C94021BD34C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
              <c:layout>
                <c:manualLayout>
                  <c:x val="-4.2197888660206236E-3"/>
                  <c:y val="-0.10881554715697983"/>
                </c:manualLayout>
              </c:layout>
              <c:tx>
                <c:rich>
                  <a:bodyPr/>
                  <a:lstStyle/>
                  <a:p>
                    <a:fld id="{3207771A-8DD4-4349-8491-C1F3F26B9D1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3323-4D58-96AA-9006918761F0}"/>
                </c:ext>
                <c:ext xmlns:c15="http://schemas.microsoft.com/office/drawing/2012/chart" uri="{CE6537A1-D6FC-4f65-9D91-7224C49458BB}">
                  <c15:layout/>
                  <c15:dlblFieldTable/>
                  <c15:showDataLabelsRange val="1"/>
                </c:ext>
              </c:extLst>
            </c:dLbl>
            <c:dLbl>
              <c:idx val="11"/>
              <c:layout>
                <c:manualLayout>
                  <c:x val="-6.8257743042602334E-2"/>
                  <c:y val="-4.7527639881017568E-2"/>
                </c:manualLayout>
              </c:layout>
              <c:tx>
                <c:rich>
                  <a:bodyPr/>
                  <a:lstStyle/>
                  <a:p>
                    <a:fld id="{080AE890-0D70-4BA6-9E10-4ADEA62E644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3323-4D58-96AA-9006918761F0}"/>
                </c:ext>
                <c:ext xmlns:c15="http://schemas.microsoft.com/office/drawing/2012/chart" uri="{CE6537A1-D6FC-4f65-9D91-7224C49458BB}">
                  <c15:layout/>
                  <c15:dlblFieldTable/>
                  <c15:showDataLabelsRange val="1"/>
                </c:ext>
              </c:extLst>
            </c:dLbl>
            <c:dLbl>
              <c:idx val="12"/>
              <c:layout/>
              <c:tx>
                <c:rich>
                  <a:bodyPr/>
                  <a:lstStyle/>
                  <a:p>
                    <a:fld id="{E04640A4-7967-4A31-BF70-F9A80C7357F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3"/>
              <c:layout/>
              <c:tx>
                <c:rich>
                  <a:bodyPr/>
                  <a:lstStyle/>
                  <a:p>
                    <a:fld id="{433E8757-C6AA-4C60-BB1F-5A239321B1D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4"/>
              <c:layout>
                <c:manualLayout>
                  <c:x val="-4.1965800272575099E-2"/>
                  <c:y val="1.9741313803365245E-3"/>
                </c:manualLayout>
              </c:layout>
              <c:tx>
                <c:rich>
                  <a:bodyPr/>
                  <a:lstStyle/>
                  <a:p>
                    <a:fld id="{F956E0DB-1674-440B-B5E9-6BB566C5DB7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3323-4D58-96AA-9006918761F0}"/>
                </c:ext>
                <c:ext xmlns:c15="http://schemas.microsoft.com/office/drawing/2012/chart" uri="{CE6537A1-D6FC-4f65-9D91-7224C49458BB}">
                  <c15:layout/>
                  <c15:dlblFieldTable/>
                  <c15:showDataLabelsRange val="1"/>
                </c:ext>
              </c:extLst>
            </c:dLbl>
            <c:dLbl>
              <c:idx val="15"/>
              <c:layout>
                <c:manualLayout>
                  <c:x val="-8.7745027066042994E-3"/>
                  <c:y val="4.4404221032925781E-2"/>
                </c:manualLayout>
              </c:layout>
              <c:tx>
                <c:rich>
                  <a:bodyPr/>
                  <a:lstStyle/>
                  <a:p>
                    <a:fld id="{4E519D9D-9F50-4910-808C-CF872094E04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F-3323-4D58-96AA-9006918761F0}"/>
                </c:ext>
                <c:ext xmlns:c15="http://schemas.microsoft.com/office/drawing/2012/chart" uri="{CE6537A1-D6FC-4f65-9D91-7224C49458BB}">
                  <c15:layout/>
                  <c15:dlblFieldTable/>
                  <c15:showDataLabelsRange val="1"/>
                </c:ext>
              </c:extLst>
            </c:dLbl>
            <c:dLbl>
              <c:idx val="16"/>
              <c:layout/>
              <c:tx>
                <c:rich>
                  <a:bodyPr/>
                  <a:lstStyle/>
                  <a:p>
                    <a:fld id="{34AB56F5-AF56-4F61-BFCF-640EC82DDA3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7"/>
              <c:layout/>
              <c:tx>
                <c:rich>
                  <a:bodyPr/>
                  <a:lstStyle/>
                  <a:p>
                    <a:fld id="{532DFB72-6A11-4AB3-8DC1-55CDFF658B8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8"/>
              <c:layout/>
              <c:tx>
                <c:rich>
                  <a:bodyPr/>
                  <a:lstStyle/>
                  <a:p>
                    <a:fld id="{19A36792-0B9B-4064-B477-319410E20EB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9"/>
              <c:layout/>
              <c:tx>
                <c:rich>
                  <a:bodyPr/>
                  <a:lstStyle/>
                  <a:p>
                    <a:fld id="{F279C093-3022-4329-ABF8-E724B01D43F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0"/>
              <c:layout/>
              <c:tx>
                <c:rich>
                  <a:bodyPr/>
                  <a:lstStyle/>
                  <a:p>
                    <a:fld id="{4A7AF791-01A8-482A-A173-83FF3B6E54B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1"/>
              <c:layout>
                <c:manualLayout>
                  <c:x val="-4.4434376759197168E-2"/>
                  <c:y val="-1.9240913445958102E-2"/>
                </c:manualLayout>
              </c:layout>
              <c:tx>
                <c:rich>
                  <a:bodyPr/>
                  <a:lstStyle/>
                  <a:p>
                    <a:fld id="{FD0B704B-EC20-4F7C-BF65-F36A2F533E64}"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3323-4D58-96AA-9006918761F0}"/>
                </c:ext>
                <c:ext xmlns:c15="http://schemas.microsoft.com/office/drawing/2012/chart" uri="{CE6537A1-D6FC-4f65-9D91-7224C49458BB}">
                  <c15:layout/>
                  <c15:dlblFieldTable/>
                  <c15:showDataLabelsRange val="1"/>
                </c:ext>
              </c:extLst>
            </c:dLbl>
            <c:dLbl>
              <c:idx val="22"/>
              <c:layout/>
              <c:tx>
                <c:rich>
                  <a:bodyPr/>
                  <a:lstStyle/>
                  <a:p>
                    <a:fld id="{57CB8CB1-0143-4584-97C4-FA0127A62FA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3"/>
              <c:layout/>
              <c:tx>
                <c:rich>
                  <a:bodyPr/>
                  <a:lstStyle/>
                  <a:p>
                    <a:fld id="{74CE57E5-4AD1-46A2-B613-672F1340F02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4"/>
              <c:layout/>
              <c:tx>
                <c:rich>
                  <a:bodyPr/>
                  <a:lstStyle/>
                  <a:p>
                    <a:fld id="{8DB05275-8354-47A7-B94A-D10FFDB819C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5"/>
              <c:layout>
                <c:manualLayout>
                  <c:x val="-2.8204055366620323E-2"/>
                  <c:y val="2.7903630612474445E-2"/>
                </c:manualLayout>
              </c:layout>
              <c:tx>
                <c:rich>
                  <a:bodyPr/>
                  <a:lstStyle/>
                  <a:p>
                    <a:fld id="{65B92A0B-2039-4D95-B1A9-32621D18209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3323-4D58-96AA-9006918761F0}"/>
                </c:ext>
                <c:ext xmlns:c15="http://schemas.microsoft.com/office/drawing/2012/chart" uri="{CE6537A1-D6FC-4f65-9D91-7224C49458BB}">
                  <c15:layout/>
                  <c15:dlblFieldTable/>
                  <c15:showDataLabelsRange val="1"/>
                </c:ext>
              </c:extLst>
            </c:dLbl>
            <c:dLbl>
              <c:idx val="26"/>
              <c:layout/>
              <c:tx>
                <c:rich>
                  <a:bodyPr/>
                  <a:lstStyle/>
                  <a:p>
                    <a:fld id="{ADEB9A8B-8F40-426E-AA42-75C558A80902}"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7"/>
              <c:layout/>
              <c:tx>
                <c:rich>
                  <a:bodyPr/>
                  <a:lstStyle/>
                  <a:p>
                    <a:fld id="{A0C94691-257F-4B00-93AA-059A6B34684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8"/>
              <c:layout/>
              <c:tx>
                <c:rich>
                  <a:bodyPr/>
                  <a:lstStyle/>
                  <a:p>
                    <a:fld id="{99AF5EA9-1DC9-4944-85AD-13ACBE8CB88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29"/>
              <c:layout/>
              <c:tx>
                <c:rich>
                  <a:bodyPr/>
                  <a:lstStyle/>
                  <a:p>
                    <a:fld id="{F85D06E5-BA9F-40CD-887E-AE654767B88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0"/>
              <c:layout/>
              <c:tx>
                <c:rich>
                  <a:bodyPr/>
                  <a:lstStyle/>
                  <a:p>
                    <a:fld id="{48D15FA6-1F78-45BE-92E0-CF701E1C1CA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1"/>
              <c:layout>
                <c:manualLayout>
                  <c:x val="1.1683332756018152E-3"/>
                  <c:y val="1.8474721800787901E-2"/>
                </c:manualLayout>
              </c:layout>
              <c:tx>
                <c:rich>
                  <a:bodyPr/>
                  <a:lstStyle/>
                  <a:p>
                    <a:fld id="{1EFC97BD-10CC-469F-819C-657BEC1C6F56}"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F-3323-4D58-96AA-9006918761F0}"/>
                </c:ext>
                <c:ext xmlns:c15="http://schemas.microsoft.com/office/drawing/2012/chart" uri="{CE6537A1-D6FC-4f65-9D91-7224C49458BB}">
                  <c15:layout/>
                  <c15:dlblFieldTable/>
                  <c15:showDataLabelsRange val="1"/>
                </c:ext>
              </c:extLst>
            </c:dLbl>
            <c:dLbl>
              <c:idx val="32"/>
              <c:layout/>
              <c:tx>
                <c:rich>
                  <a:bodyPr/>
                  <a:lstStyle/>
                  <a:p>
                    <a:fld id="{BD866C5E-CECB-46D8-AC30-364CD979AC4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3"/>
              <c:layout>
                <c:manualLayout>
                  <c:x val="-3.2175890103407255E-3"/>
                  <c:y val="-8.9957729533606826E-2"/>
                </c:manualLayout>
              </c:layout>
              <c:tx>
                <c:rich>
                  <a:bodyPr/>
                  <a:lstStyle/>
                  <a:p>
                    <a:fld id="{F10E12EA-ACDF-452A-A9AA-ED6D21ACDD5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1-3323-4D58-96AA-9006918761F0}"/>
                </c:ext>
                <c:ext xmlns:c15="http://schemas.microsoft.com/office/drawing/2012/chart" uri="{CE6537A1-D6FC-4f65-9D91-7224C49458BB}">
                  <c15:layout/>
                  <c15:dlblFieldTable/>
                  <c15:showDataLabelsRange val="1"/>
                </c:ext>
              </c:extLst>
            </c:dLbl>
            <c:dLbl>
              <c:idx val="34"/>
              <c:layout>
                <c:manualLayout>
                  <c:x val="-5.9841922389609947E-2"/>
                  <c:y val="-0.10410109275113658"/>
                </c:manualLayout>
              </c:layout>
              <c:tx>
                <c:rich>
                  <a:bodyPr/>
                  <a:lstStyle/>
                  <a:p>
                    <a:fld id="{BC05A2C6-F733-4140-A9C4-FB573D669D6D}"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2-3323-4D58-96AA-9006918761F0}"/>
                </c:ext>
                <c:ext xmlns:c15="http://schemas.microsoft.com/office/drawing/2012/chart" uri="{CE6537A1-D6FC-4f65-9D91-7224C49458BB}">
                  <c15:layout/>
                  <c15:dlblFieldTable/>
                  <c15:showDataLabelsRange val="1"/>
                </c:ext>
              </c:extLst>
            </c:dLbl>
            <c:dLbl>
              <c:idx val="35"/>
              <c:layout/>
              <c:tx>
                <c:rich>
                  <a:bodyPr/>
                  <a:lstStyle/>
                  <a:p>
                    <a:fld id="{88AB800E-CAA4-4FAD-B97B-5DA27DEDCFF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6"/>
              <c:layout>
                <c:manualLayout>
                  <c:x val="-7.7575585099061595E-2"/>
                  <c:y val="-2.6312595054722936E-2"/>
                </c:manualLayout>
              </c:layout>
              <c:tx>
                <c:rich>
                  <a:bodyPr/>
                  <a:lstStyle/>
                  <a:p>
                    <a:fld id="{FF92A162-C236-4AA5-98C1-F9C49829172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4-3323-4D58-96AA-9006918761F0}"/>
                </c:ext>
                <c:ext xmlns:c15="http://schemas.microsoft.com/office/drawing/2012/chart" uri="{CE6537A1-D6FC-4f65-9D91-7224C49458BB}">
                  <c15:layout/>
                  <c15:dlblFieldTable/>
                  <c15:showDataLabelsRange val="1"/>
                </c:ext>
              </c:extLst>
            </c:dLbl>
            <c:dLbl>
              <c:idx val="37"/>
              <c:layout>
                <c:manualLayout>
                  <c:x val="-1.8287551531471935E-2"/>
                  <c:y val="3.7332539424160947E-2"/>
                </c:manualLayout>
              </c:layout>
              <c:tx>
                <c:rich>
                  <a:bodyPr/>
                  <a:lstStyle/>
                  <a:p>
                    <a:fld id="{49EFB1E0-D33E-4709-898E-F099415F9395}"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5-3323-4D58-96AA-9006918761F0}"/>
                </c:ext>
                <c:ext xmlns:c15="http://schemas.microsoft.com/office/drawing/2012/chart" uri="{CE6537A1-D6FC-4f65-9D91-7224C49458BB}">
                  <c15:layout/>
                  <c15:dlblFieldTable/>
                  <c15:showDataLabelsRange val="1"/>
                </c:ext>
              </c:extLst>
            </c:dLbl>
            <c:dLbl>
              <c:idx val="38"/>
              <c:layout/>
              <c:tx>
                <c:rich>
                  <a:bodyPr/>
                  <a:lstStyle/>
                  <a:p>
                    <a:fld id="{C4F46743-C703-436C-A05B-D733A50A4CB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9"/>
              <c:layout>
                <c:manualLayout>
                  <c:x val="7.5085660467979565E-3"/>
                  <c:y val="-3.5741503866409438E-2"/>
                </c:manualLayout>
              </c:layout>
              <c:tx>
                <c:rich>
                  <a:bodyPr/>
                  <a:lstStyle/>
                  <a:p>
                    <a:fld id="{8683B9D1-AE95-4831-8E5A-C08B8CA8075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7-3323-4D58-96AA-9006918761F0}"/>
                </c:ext>
                <c:ext xmlns:c15="http://schemas.microsoft.com/office/drawing/2012/chart" uri="{CE6537A1-D6FC-4f65-9D91-7224C49458BB}">
                  <c15:layout/>
                  <c15:dlblFieldTable/>
                  <c15:showDataLabelsRange val="1"/>
                </c:ext>
              </c:extLst>
            </c:dLbl>
            <c:dLbl>
              <c:idx val="40"/>
              <c:layout>
                <c:manualLayout>
                  <c:x val="-5.0453058296133597E-3"/>
                  <c:y val="-0.11117277435990144"/>
                </c:manualLayout>
              </c:layout>
              <c:tx>
                <c:rich>
                  <a:bodyPr/>
                  <a:lstStyle/>
                  <a:p>
                    <a:fld id="{6CFF24F9-54C2-4386-9BD9-7CC07B91CE50}"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8-3323-4D58-96AA-9006918761F0}"/>
                </c:ext>
                <c:ext xmlns:c15="http://schemas.microsoft.com/office/drawing/2012/chart" uri="{CE6537A1-D6FC-4f65-9D91-7224C49458BB}">
                  <c15:layout/>
                  <c15:dlblFieldTable/>
                  <c15:showDataLabelsRange val="1"/>
                </c:ext>
              </c:extLst>
            </c:dLbl>
            <c:dLbl>
              <c:idx val="41"/>
              <c:layout/>
              <c:tx>
                <c:rich>
                  <a:bodyPr/>
                  <a:lstStyle/>
                  <a:p>
                    <a:fld id="{F933DDFB-53D8-42FA-90CD-FCD07A2C047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2"/>
              <c:layout>
                <c:manualLayout>
                  <c:x val="-3.7060295715826169E-2"/>
                  <c:y val="-2.3955367851801312E-2"/>
                </c:manualLayout>
              </c:layout>
              <c:tx>
                <c:rich>
                  <a:bodyPr/>
                  <a:lstStyle/>
                  <a:p>
                    <a:fld id="{3EB57BFD-58F6-451F-8BAE-B684A5680B6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A-3323-4D58-96AA-9006918761F0}"/>
                </c:ext>
                <c:ext xmlns:c15="http://schemas.microsoft.com/office/drawing/2012/chart" uri="{CE6537A1-D6FC-4f65-9D91-7224C49458BB}">
                  <c15:layout/>
                  <c15:dlblFieldTable/>
                  <c15:showDataLabelsRange val="1"/>
                </c:ext>
              </c:extLst>
            </c:dLbl>
            <c:dLbl>
              <c:idx val="43"/>
              <c:layout/>
              <c:tx>
                <c:rich>
                  <a:bodyPr/>
                  <a:lstStyle/>
                  <a:p>
                    <a:fld id="{49CA4221-2C6E-467E-BE86-57A5B18CA960}"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4"/>
              <c:layout>
                <c:manualLayout>
                  <c:x val="-4.8279700896713441E-2"/>
                  <c:y val="3.7332539424160947E-2"/>
                </c:manualLayout>
              </c:layout>
              <c:tx>
                <c:rich>
                  <a:bodyPr/>
                  <a:lstStyle/>
                  <a:p>
                    <a:fld id="{F7DEA0A3-26D2-4A7A-B7B7-5D33FD07E57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C-3323-4D58-96AA-9006918761F0}"/>
                </c:ext>
                <c:ext xmlns:c15="http://schemas.microsoft.com/office/drawing/2012/chart" uri="{CE6537A1-D6FC-4f65-9D91-7224C49458BB}">
                  <c15:layout/>
                  <c15:dlblFieldTable/>
                  <c15:showDataLabelsRange val="1"/>
                </c:ext>
              </c:extLst>
            </c:dLbl>
            <c:dLbl>
              <c:idx val="45"/>
              <c:layout>
                <c:manualLayout>
                  <c:x val="-8.2620807861965059E-2"/>
                  <c:y val="-4.7527639881017568E-2"/>
                </c:manualLayout>
              </c:layout>
              <c:tx>
                <c:rich>
                  <a:bodyPr/>
                  <a:lstStyle/>
                  <a:p>
                    <a:fld id="{A1046DC1-E295-4654-BFCA-7322F100F3C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D-3323-4D58-96AA-9006918761F0}"/>
                </c:ext>
                <c:ext xmlns:c15="http://schemas.microsoft.com/office/drawing/2012/chart" uri="{CE6537A1-D6FC-4f65-9D91-7224C49458BB}">
                  <c15:layout/>
                  <c15:dlblFieldTable/>
                  <c15:showDataLabelsRange val="1"/>
                </c:ext>
              </c:extLst>
            </c:dLbl>
            <c:dLbl>
              <c:idx val="46"/>
              <c:layout>
                <c:manualLayout>
                  <c:x val="-8.1684243980173959E-2"/>
                  <c:y val="-4.8707601271488092E-2"/>
                </c:manualLayout>
              </c:layout>
              <c:tx>
                <c:rich>
                  <a:bodyPr/>
                  <a:lstStyle/>
                  <a:p>
                    <a:fld id="{2DAA36D0-1D76-465B-9B23-340E9FF40657}"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E-3323-4D58-96AA-9006918761F0}"/>
                </c:ext>
                <c:ext xmlns:c15="http://schemas.microsoft.com/office/drawing/2012/chart" uri="{CE6537A1-D6FC-4f65-9D91-7224C49458BB}">
                  <c15:layout/>
                  <c15:dlblFieldTable/>
                  <c15:showDataLabelsRange val="1"/>
                </c:ext>
              </c:extLst>
            </c:dLbl>
            <c:dLbl>
              <c:idx val="47"/>
              <c:layout>
                <c:manualLayout>
                  <c:x val="-5.6176354612449747E-3"/>
                  <c:y val="-3.1027049460566187E-2"/>
                </c:manualLayout>
              </c:layout>
              <c:tx>
                <c:rich>
                  <a:bodyPr/>
                  <a:lstStyle/>
                  <a:p>
                    <a:fld id="{4F02C492-5CF0-4540-B999-526673812B3F}"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2F-3323-4D58-96AA-9006918761F0}"/>
                </c:ext>
                <c:ext xmlns:c15="http://schemas.microsoft.com/office/drawing/2012/chart" uri="{CE6537A1-D6FC-4f65-9D91-7224C49458BB}">
                  <c15:layout/>
                  <c15:dlblFieldTable/>
                  <c15:showDataLabelsRange val="1"/>
                </c:ext>
              </c:extLst>
            </c:dLbl>
            <c:dLbl>
              <c:idx val="48"/>
              <c:layout/>
              <c:tx>
                <c:rich>
                  <a:bodyPr/>
                  <a:lstStyle/>
                  <a:p>
                    <a:fld id="{FB40773F-D7E4-4BA4-9911-401BA652E49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49"/>
              <c:layout>
                <c:manualLayout>
                  <c:x val="-4.4226045450614891E-2"/>
                  <c:y val="-7.8171593518998689E-2"/>
                </c:manualLayout>
              </c:layout>
              <c:tx>
                <c:rich>
                  <a:bodyPr/>
                  <a:lstStyle/>
                  <a:p>
                    <a:fld id="{ACA18D13-E910-46FC-BE70-89041E464641}"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1-3323-4D58-96AA-9006918761F0}"/>
                </c:ext>
                <c:ext xmlns:c15="http://schemas.microsoft.com/office/drawing/2012/chart" uri="{CE6537A1-D6FC-4f65-9D91-7224C49458BB}">
                  <c15:layout/>
                  <c15:dlblFieldTable/>
                  <c15:showDataLabelsRange val="1"/>
                </c:ext>
              </c:extLst>
            </c:dLbl>
            <c:dLbl>
              <c:idx val="50"/>
              <c:layout/>
              <c:tx>
                <c:rich>
                  <a:bodyPr/>
                  <a:lstStyle/>
                  <a:p>
                    <a:fld id="{12835931-450E-4B3E-A0F9-C89026691B4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1"/>
              <c:layout>
                <c:manualLayout>
                  <c:x val="-7.1228127909047792E-3"/>
                  <c:y val="-5.8529861929145534E-2"/>
                </c:manualLayout>
              </c:layout>
              <c:tx>
                <c:rich>
                  <a:bodyPr/>
                  <a:lstStyle/>
                  <a:p>
                    <a:fld id="{3C8F07F8-EDC4-4AA1-9D8B-8F072D746E83}"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3-3323-4D58-96AA-9006918761F0}"/>
                </c:ext>
                <c:ext xmlns:c15="http://schemas.microsoft.com/office/drawing/2012/chart" uri="{CE6537A1-D6FC-4f65-9D91-7224C49458BB}">
                  <c15:layout/>
                  <c15:dlblFieldTable/>
                  <c15:showDataLabelsRange val="1"/>
                </c:ext>
              </c:extLst>
            </c:dLbl>
            <c:dLbl>
              <c:idx val="52"/>
              <c:layout/>
              <c:tx>
                <c:rich>
                  <a:bodyPr/>
                  <a:lstStyle/>
                  <a:p>
                    <a:fld id="{BF97B776-B5EF-46AE-9D2E-C692A52CAE0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3"/>
              <c:layout>
                <c:manualLayout>
                  <c:x val="-2.1874372067589389E-2"/>
                  <c:y val="-5.6956548692704154E-2"/>
                </c:manualLayout>
              </c:layout>
              <c:tx>
                <c:rich>
                  <a:bodyPr/>
                  <a:lstStyle/>
                  <a:p>
                    <a:fld id="{E096A02F-8A3A-4493-9AEB-EFED09D0D65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5-3323-4D58-96AA-9006918761F0}"/>
                </c:ext>
                <c:ext xmlns:c15="http://schemas.microsoft.com/office/drawing/2012/chart" uri="{CE6537A1-D6FC-4f65-9D91-7224C49458BB}">
                  <c15:layout/>
                  <c15:dlblFieldTable/>
                  <c15:showDataLabelsRange val="1"/>
                </c:ext>
              </c:extLst>
            </c:dLbl>
            <c:dLbl>
              <c:idx val="54"/>
              <c:layout>
                <c:manualLayout>
                  <c:x val="4.1670415051953662E-3"/>
                  <c:y val="-1.6883686243036437E-2"/>
                </c:manualLayout>
              </c:layout>
              <c:tx>
                <c:rich>
                  <a:bodyPr/>
                  <a:lstStyle/>
                  <a:p>
                    <a:fld id="{583AFB5C-357C-4691-98AF-68DB0D8218E9}"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6-3323-4D58-96AA-9006918761F0}"/>
                </c:ext>
                <c:ext xmlns:c15="http://schemas.microsoft.com/office/drawing/2012/chart" uri="{CE6537A1-D6FC-4f65-9D91-7224C49458BB}">
                  <c15:layout/>
                  <c15:dlblFieldTable/>
                  <c15:showDataLabelsRange val="1"/>
                </c:ext>
              </c:extLst>
            </c:dLbl>
            <c:dLbl>
              <c:idx val="55"/>
              <c:layout>
                <c:manualLayout>
                  <c:x val="4.1195273470976531E-3"/>
                  <c:y val="1.3760267394944608E-2"/>
                </c:manualLayout>
              </c:layout>
              <c:tx>
                <c:rich>
                  <a:bodyPr/>
                  <a:lstStyle/>
                  <a:p>
                    <a:fld id="{0709CB1A-6ECF-4312-8B74-A26F2F8DDFCB}"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7-3323-4D58-96AA-9006918761F0}"/>
                </c:ext>
                <c:ext xmlns:c15="http://schemas.microsoft.com/office/drawing/2012/chart" uri="{CE6537A1-D6FC-4f65-9D91-7224C49458BB}">
                  <c15:layout/>
                  <c15:dlblFieldTable/>
                  <c15:showDataLabelsRange val="1"/>
                </c:ext>
              </c:extLst>
            </c:dLbl>
            <c:dLbl>
              <c:idx val="56"/>
              <c:layout>
                <c:manualLayout>
                  <c:x val="-4.4304296768464067E-3"/>
                  <c:y val="-0.10724764238238772"/>
                </c:manualLayout>
              </c:layout>
              <c:tx>
                <c:rich>
                  <a:bodyPr/>
                  <a:lstStyle/>
                  <a:p>
                    <a:fld id="{BB956513-AFC6-45F6-989B-E92A928CF878}"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8-3323-4D58-96AA-9006918761F0}"/>
                </c:ext>
                <c:ext xmlns:c15="http://schemas.microsoft.com/office/drawing/2012/chart" uri="{CE6537A1-D6FC-4f65-9D91-7224C49458BB}">
                  <c15:layout/>
                  <c15:dlblFieldTable/>
                  <c15:showDataLabelsRange val="1"/>
                </c:ext>
              </c:extLst>
            </c:dLbl>
            <c:dLbl>
              <c:idx val="57"/>
              <c:layout/>
              <c:tx>
                <c:rich>
                  <a:bodyPr/>
                  <a:lstStyle/>
                  <a:p>
                    <a:fld id="{32F22239-4229-44E2-9880-B6DEACDFD22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8"/>
              <c:layout>
                <c:manualLayout>
                  <c:x val="-9.328448200081595E-3"/>
                  <c:y val="-2.2451376539411837E-2"/>
                </c:manualLayout>
              </c:layout>
              <c:tx>
                <c:rich>
                  <a:bodyPr/>
                  <a:lstStyle/>
                  <a:p>
                    <a:fld id="{27843077-87F3-4E46-8034-E0B7D5C637F2}"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A-3323-4D58-96AA-9006918761F0}"/>
                </c:ext>
                <c:ext xmlns:c15="http://schemas.microsoft.com/office/drawing/2012/chart" uri="{CE6537A1-D6FC-4f65-9D91-7224C49458BB}">
                  <c15:layout/>
                  <c15:dlblFieldTable/>
                  <c15:showDataLabelsRange val="1"/>
                </c:ext>
              </c:extLst>
            </c:dLbl>
            <c:dLbl>
              <c:idx val="59"/>
              <c:layout>
                <c:manualLayout>
                  <c:x val="-3.3270377073853906E-2"/>
                  <c:y val="-4.2813185475174403E-2"/>
                </c:manualLayout>
              </c:layout>
              <c:tx>
                <c:rich>
                  <a:bodyPr/>
                  <a:lstStyle/>
                  <a:p>
                    <a:fld id="{4CC5B1AF-F988-46CC-A9F6-7349557504FE}" type="CELLRANGE">
                      <a:rPr lang="en-US"/>
                      <a:pPr/>
                      <a:t>[CELLRANGE]</a:t>
                    </a:fld>
                    <a:endParaRPr lang="fr-FR"/>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3B-3323-4D58-96AA-9006918761F0}"/>
                </c:ext>
                <c:ext xmlns:c15="http://schemas.microsoft.com/office/drawing/2012/chart" uri="{CE6537A1-D6FC-4f65-9D91-7224C49458BB}">
                  <c15:layout/>
                  <c15:dlblFieldTable/>
                  <c15:showDataLabelsRange val="1"/>
                </c:ext>
              </c:extLst>
            </c:dLbl>
            <c:dLbl>
              <c:idx val="60"/>
              <c:layout/>
              <c:tx>
                <c:rich>
                  <a:bodyPr/>
                  <a:lstStyle/>
                  <a:p>
                    <a:fld id="{EEB98BE7-930C-41AE-BBE4-BF2DD9AF713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1"/>
              <c:layout/>
              <c:tx>
                <c:rich>
                  <a:bodyPr/>
                  <a:lstStyle/>
                  <a:p>
                    <a:fld id="{1D30CA21-FC49-4169-9CF5-33A76D631B4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2"/>
              <c:layout/>
              <c:tx>
                <c:rich>
                  <a:bodyPr/>
                  <a:lstStyle/>
                  <a:p>
                    <a:fld id="{685796CE-0837-46A0-8E3B-B8FDAFAEF35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3"/>
              <c:layout/>
              <c:tx>
                <c:rich>
                  <a:bodyPr/>
                  <a:lstStyle/>
                  <a:p>
                    <a:fld id="{BC1C28B5-E193-4B2D-AE19-99A51BD5ED0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4"/>
              <c:layout/>
              <c:tx>
                <c:rich>
                  <a:bodyPr/>
                  <a:lstStyle/>
                  <a:p>
                    <a:fld id="{E51234DD-8174-46F0-9A0A-A91DEFC4C8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5"/>
              <c:layout/>
              <c:tx>
                <c:rich>
                  <a:bodyPr/>
                  <a:lstStyle/>
                  <a:p>
                    <a:fld id="{D17AD39F-93EA-4F1F-9076-5E4924AB914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6"/>
              <c:layout/>
              <c:tx>
                <c:rich>
                  <a:bodyPr/>
                  <a:lstStyle/>
                  <a:p>
                    <a:fld id="{BC7D846D-0B41-405F-8727-7B6A494AA20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7"/>
              <c:layout/>
              <c:tx>
                <c:rich>
                  <a:bodyPr/>
                  <a:lstStyle/>
                  <a:p>
                    <a:fld id="{646DBE15-0C45-415F-B124-F735059DD42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8"/>
              <c:layout/>
              <c:tx>
                <c:rich>
                  <a:bodyPr/>
                  <a:lstStyle/>
                  <a:p>
                    <a:fld id="{CC5793DB-905B-489E-AAFC-22DAFDA3906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9"/>
              <c:layout/>
              <c:tx>
                <c:rich>
                  <a:bodyPr/>
                  <a:lstStyle/>
                  <a:p>
                    <a:fld id="{79A716D1-A94F-452A-AED3-3B89FAD74A5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0"/>
              <c:layout/>
              <c:tx>
                <c:rich>
                  <a:bodyPr/>
                  <a:lstStyle/>
                  <a:p>
                    <a:fld id="{CD7A045F-2E3E-438D-8C68-F07A70DDCB0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1"/>
              <c:layout/>
              <c:tx>
                <c:rich>
                  <a:bodyPr/>
                  <a:lstStyle/>
                  <a:p>
                    <a:fld id="{68FDA587-B762-43C4-ABF5-DAFC791BA59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2"/>
              <c:layout/>
              <c:tx>
                <c:rich>
                  <a:bodyPr/>
                  <a:lstStyle/>
                  <a:p>
                    <a:fld id="{A4BB9558-3503-4221-99E0-40D08D1F0E4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3"/>
              <c:layout/>
              <c:tx>
                <c:rich>
                  <a:bodyPr/>
                  <a:lstStyle/>
                  <a:p>
                    <a:fld id="{40659137-08E6-43CA-80DE-47C4C2A7A6F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4"/>
              <c:layout/>
              <c:tx>
                <c:rich>
                  <a:bodyPr/>
                  <a:lstStyle/>
                  <a:p>
                    <a:fld id="{89475016-907D-4EB1-9804-A2A02AD856D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5"/>
              <c:layout/>
              <c:tx>
                <c:rich>
                  <a:bodyPr/>
                  <a:lstStyle/>
                  <a:p>
                    <a:fld id="{0E06C958-2BE5-4499-A530-B4C386D2376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6"/>
              <c:layout/>
              <c:tx>
                <c:rich>
                  <a:bodyPr/>
                  <a:lstStyle/>
                  <a:p>
                    <a:fld id="{2F12BE54-9B29-47C6-9BFD-FC4D1DB1390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7"/>
              <c:layout/>
              <c:tx>
                <c:rich>
                  <a:bodyPr/>
                  <a:lstStyle/>
                  <a:p>
                    <a:fld id="{BD18E5F2-1A83-4EC9-84CA-E6C5DB8691F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8"/>
              <c:layout/>
              <c:tx>
                <c:rich>
                  <a:bodyPr/>
                  <a:lstStyle/>
                  <a:p>
                    <a:fld id="{65D1194F-8551-477B-B85A-7581D4C8912B}"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9"/>
              <c:layout/>
              <c:tx>
                <c:rich>
                  <a:bodyPr/>
                  <a:lstStyle/>
                  <a:p>
                    <a:fld id="{937B87B8-70EC-4A01-B942-F7A182CAF1F9}"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0"/>
              <c:layout/>
              <c:tx>
                <c:rich>
                  <a:bodyPr/>
                  <a:lstStyle/>
                  <a:p>
                    <a:fld id="{1F7B0650-C2BC-47EB-AC9D-DFC64041DAE3}"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1"/>
              <c:layout/>
              <c:tx>
                <c:rich>
                  <a:bodyPr/>
                  <a:lstStyle/>
                  <a:p>
                    <a:fld id="{40EF2CE5-93BF-4132-9689-A6FDA7AC180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2"/>
              <c:layout/>
              <c:tx>
                <c:rich>
                  <a:bodyPr/>
                  <a:lstStyle/>
                  <a:p>
                    <a:fld id="{D5AD5843-8561-4364-B016-BD9579222DD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3"/>
              <c:layout/>
              <c:tx>
                <c:rich>
                  <a:bodyPr/>
                  <a:lstStyle/>
                  <a:p>
                    <a:fld id="{DECA638F-71E6-4F71-9492-D0EDCAD9FEC5}"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4"/>
              <c:layout/>
              <c:tx>
                <c:rich>
                  <a:bodyPr/>
                  <a:lstStyle/>
                  <a:p>
                    <a:fld id="{55358109-E2D1-4DCB-9E12-9E6A3319AB9C}"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5"/>
              <c:layout/>
              <c:tx>
                <c:rich>
                  <a:bodyPr/>
                  <a:lstStyle/>
                  <a:p>
                    <a:fld id="{2E7A589C-2653-4728-ADB0-90BFEC7E5AE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6"/>
              <c:layout/>
              <c:tx>
                <c:rich>
                  <a:bodyPr/>
                  <a:lstStyle/>
                  <a:p>
                    <a:fld id="{4126FA21-614B-401A-8EA4-CD744025CAC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7"/>
              <c:layout/>
              <c:tx>
                <c:rich>
                  <a:bodyPr/>
                  <a:lstStyle/>
                  <a:p>
                    <a:fld id="{BF845B59-0473-40B8-AC8B-B4CB7DF4F62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8"/>
              <c:layout/>
              <c:tx>
                <c:rich>
                  <a:bodyPr/>
                  <a:lstStyle/>
                  <a:p>
                    <a:fld id="{761C4DDB-5F0B-4AB1-92D1-EFF4D67F0751}"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9"/>
              <c:layout/>
              <c:tx>
                <c:rich>
                  <a:bodyPr/>
                  <a:lstStyle/>
                  <a:p>
                    <a:fld id="{E70ABE36-FD3E-4750-88EE-FF70A2C191A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0"/>
              <c:layout/>
              <c:tx>
                <c:rich>
                  <a:bodyPr/>
                  <a:lstStyle/>
                  <a:p>
                    <a:fld id="{176DBEE5-58E8-45CF-84B0-D25DC028C9D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1"/>
              <c:layout/>
              <c:tx>
                <c:rich>
                  <a:bodyPr/>
                  <a:lstStyle/>
                  <a:p>
                    <a:fld id="{08EF156A-5F8C-4019-B1EA-9207C149075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2"/>
              <c:layout/>
              <c:tx>
                <c:rich>
                  <a:bodyPr/>
                  <a:lstStyle/>
                  <a:p>
                    <a:fld id="{79473B59-6CA9-4FCD-B1F8-CEA0D6AF117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3"/>
              <c:layout/>
              <c:tx>
                <c:rich>
                  <a:bodyPr/>
                  <a:lstStyle/>
                  <a:p>
                    <a:fld id="{62D7504A-3426-48BB-B1E7-CC0F53FF68B7}"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4"/>
              <c:layout/>
              <c:tx>
                <c:rich>
                  <a:bodyPr/>
                  <a:lstStyle/>
                  <a:p>
                    <a:fld id="{C8EBD129-3575-447A-A411-59FA3CD7EBD6}"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5"/>
              <c:layout/>
              <c:tx>
                <c:rich>
                  <a:bodyPr/>
                  <a:lstStyle/>
                  <a:p>
                    <a:fld id="{A61C288E-0B97-4A1D-92A1-C5F7027455BE}"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6"/>
              <c:layout/>
              <c:tx>
                <c:rich>
                  <a:bodyPr/>
                  <a:lstStyle/>
                  <a:p>
                    <a:fld id="{F0A36343-1EC7-4235-8C2F-8D69287467DD}"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7"/>
              <c:layout/>
              <c:tx>
                <c:rich>
                  <a:bodyPr/>
                  <a:lstStyle/>
                  <a:p>
                    <a:fld id="{9179C0F2-BA6D-493E-BEC4-A50661BD56C4}"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8"/>
              <c:layout/>
              <c:tx>
                <c:rich>
                  <a:bodyPr/>
                  <a:lstStyle/>
                  <a:p>
                    <a:fld id="{45F1BB97-BD8D-4BF7-82AC-D943C00AF288}"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99"/>
              <c:layout/>
              <c:tx>
                <c:rich>
                  <a:bodyPr/>
                  <a:lstStyle/>
                  <a:p>
                    <a:fld id="{E77DE928-9828-4F91-8BEA-B36E5EF1702A}"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0"/>
              <c:layout/>
              <c:tx>
                <c:rich>
                  <a:bodyPr/>
                  <a:lstStyle/>
                  <a:p>
                    <a:fld id="{BB4E141E-EB27-4AFF-9FF9-5807970EFD5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01"/>
              <c:layout/>
              <c:tx>
                <c:rich>
                  <a:bodyPr/>
                  <a:lstStyle/>
                  <a:p>
                    <a:fld id="{FB36F1A4-3CEB-4372-8FD5-3BBF8B0EC12F}" type="CELLRANGE">
                      <a:rPr lang="fr-FR"/>
                      <a:pPr/>
                      <a:t>[CELLRANGE]</a:t>
                    </a:fld>
                    <a:endParaRPr lang="fr-FR"/>
                  </a:p>
                </c:rich>
              </c:tx>
              <c:dLblPos val="t"/>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Gill Sans Std Light" panose="020B0302020104020203" pitchFamily="34" charset="0"/>
                    <a:ea typeface="+mn-ea"/>
                    <a:cs typeface="+mn-cs"/>
                  </a:defRPr>
                </a:pPr>
                <a:endParaRPr lang="fr-FR"/>
              </a:p>
            </c:txPr>
            <c:dLblPos val="t"/>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966E32"/>
                </a:solidFill>
                <a:prstDash val="sysDot"/>
              </a:ln>
              <a:effectLst/>
            </c:spPr>
            <c:trendlineType val="linear"/>
            <c:dispRSqr val="0"/>
            <c:dispEq val="0"/>
          </c:trendline>
          <c:xVal>
            <c:numRef>
              <c:f>Sheet1!$E$3:$E$104</c:f>
              <c:numCache>
                <c:formatCode>0.000</c:formatCode>
                <c:ptCount val="102"/>
                <c:pt idx="0">
                  <c:v>0.95890410958904104</c:v>
                </c:pt>
                <c:pt idx="1">
                  <c:v>1</c:v>
                </c:pt>
                <c:pt idx="2">
                  <c:v>0.84931506849315075</c:v>
                </c:pt>
                <c:pt idx="3">
                  <c:v>0.95890410958904104</c:v>
                </c:pt>
                <c:pt idx="4">
                  <c:v>0.71232876712328774</c:v>
                </c:pt>
                <c:pt idx="5">
                  <c:v>0.9452054794520548</c:v>
                </c:pt>
                <c:pt idx="6">
                  <c:v>0.91780821917808209</c:v>
                </c:pt>
                <c:pt idx="7">
                  <c:v>0.82191780821917804</c:v>
                </c:pt>
                <c:pt idx="8">
                  <c:v>0.83561643835616439</c:v>
                </c:pt>
                <c:pt idx="9">
                  <c:v>0.64383561643835618</c:v>
                </c:pt>
                <c:pt idx="10">
                  <c:v>1</c:v>
                </c:pt>
                <c:pt idx="11">
                  <c:v>0.95890410958904104</c:v>
                </c:pt>
                <c:pt idx="12">
                  <c:v>0.56164383561643838</c:v>
                </c:pt>
                <c:pt idx="13">
                  <c:v>0.61643835616438347</c:v>
                </c:pt>
                <c:pt idx="14">
                  <c:v>0.80821917808219179</c:v>
                </c:pt>
                <c:pt idx="15">
                  <c:v>0.84931506849315075</c:v>
                </c:pt>
                <c:pt idx="16">
                  <c:v>0.52054794520547942</c:v>
                </c:pt>
                <c:pt idx="17">
                  <c:v>0.73972602739726023</c:v>
                </c:pt>
                <c:pt idx="18">
                  <c:v>0.8904109589041096</c:v>
                </c:pt>
                <c:pt idx="19">
                  <c:v>0.84931506849315075</c:v>
                </c:pt>
                <c:pt idx="20">
                  <c:v>0.78082191780821908</c:v>
                </c:pt>
                <c:pt idx="21">
                  <c:v>0.61643835616438347</c:v>
                </c:pt>
                <c:pt idx="22">
                  <c:v>0.63013698630136983</c:v>
                </c:pt>
                <c:pt idx="23">
                  <c:v>0.53424657534246578</c:v>
                </c:pt>
                <c:pt idx="24">
                  <c:v>0.47945205479452052</c:v>
                </c:pt>
                <c:pt idx="25">
                  <c:v>0.82191780821917804</c:v>
                </c:pt>
                <c:pt idx="26">
                  <c:v>0.71232876712328774</c:v>
                </c:pt>
                <c:pt idx="27">
                  <c:v>0.39726027397260277</c:v>
                </c:pt>
                <c:pt idx="28">
                  <c:v>0.21917808219178084</c:v>
                </c:pt>
                <c:pt idx="29">
                  <c:v>0.34246575342465752</c:v>
                </c:pt>
                <c:pt idx="30">
                  <c:v>0.83561643835616439</c:v>
                </c:pt>
                <c:pt idx="31">
                  <c:v>0.95890410958904104</c:v>
                </c:pt>
                <c:pt idx="32">
                  <c:v>0.57534246575342463</c:v>
                </c:pt>
                <c:pt idx="33">
                  <c:v>0.39726027397260277</c:v>
                </c:pt>
                <c:pt idx="34">
                  <c:v>0.31506849315068497</c:v>
                </c:pt>
                <c:pt idx="35">
                  <c:v>0.61643835616438347</c:v>
                </c:pt>
                <c:pt idx="36">
                  <c:v>0.20547945205479451</c:v>
                </c:pt>
                <c:pt idx="37">
                  <c:v>0.57534246575342463</c:v>
                </c:pt>
                <c:pt idx="38">
                  <c:v>0.46575342465753422</c:v>
                </c:pt>
                <c:pt idx="39">
                  <c:v>0.39726027397260277</c:v>
                </c:pt>
                <c:pt idx="40">
                  <c:v>0.31506849315068497</c:v>
                </c:pt>
                <c:pt idx="41">
                  <c:v>0.56164383561643838</c:v>
                </c:pt>
                <c:pt idx="42">
                  <c:v>0.28767123287671231</c:v>
                </c:pt>
                <c:pt idx="43">
                  <c:v>0.76712328767123283</c:v>
                </c:pt>
                <c:pt idx="44">
                  <c:v>0.76712328767123283</c:v>
                </c:pt>
                <c:pt idx="45">
                  <c:v>0.28767123287671231</c:v>
                </c:pt>
                <c:pt idx="46">
                  <c:v>0.39726027397260277</c:v>
                </c:pt>
                <c:pt idx="47">
                  <c:v>0.31506849315068497</c:v>
                </c:pt>
                <c:pt idx="48">
                  <c:v>0.53424657534246578</c:v>
                </c:pt>
                <c:pt idx="49">
                  <c:v>0.26027397260273977</c:v>
                </c:pt>
                <c:pt idx="50">
                  <c:v>0.34246575342465752</c:v>
                </c:pt>
                <c:pt idx="51">
                  <c:v>0.41095890410958913</c:v>
                </c:pt>
                <c:pt idx="52">
                  <c:v>0.52054794520547942</c:v>
                </c:pt>
                <c:pt idx="53">
                  <c:v>0.20547945205479451</c:v>
                </c:pt>
                <c:pt idx="54">
                  <c:v>0.21917808219178084</c:v>
                </c:pt>
                <c:pt idx="55">
                  <c:v>0.30136986301369861</c:v>
                </c:pt>
                <c:pt idx="56">
                  <c:v>0.34246575342465752</c:v>
                </c:pt>
                <c:pt idx="57">
                  <c:v>0.36986301369863017</c:v>
                </c:pt>
                <c:pt idx="58">
                  <c:v>0.61643835616438347</c:v>
                </c:pt>
                <c:pt idx="59">
                  <c:v>0.28767123287671231</c:v>
                </c:pt>
                <c:pt idx="60">
                  <c:v>0</c:v>
                </c:pt>
                <c:pt idx="61">
                  <c:v>8.2191780821917804E-2</c:v>
                </c:pt>
                <c:pt idx="62">
                  <c:v>9.5890410958904118E-2</c:v>
                </c:pt>
                <c:pt idx="63">
                  <c:v>0.12328767123287671</c:v>
                </c:pt>
                <c:pt idx="64">
                  <c:v>0.12328767123287671</c:v>
                </c:pt>
                <c:pt idx="65">
                  <c:v>0.13698630136986303</c:v>
                </c:pt>
                <c:pt idx="66">
                  <c:v>0.13698630136986303</c:v>
                </c:pt>
                <c:pt idx="67">
                  <c:v>0.13698630136986303</c:v>
                </c:pt>
                <c:pt idx="68">
                  <c:v>0.13698630136986303</c:v>
                </c:pt>
                <c:pt idx="69">
                  <c:v>0.13698630136986303</c:v>
                </c:pt>
                <c:pt idx="70">
                  <c:v>0.13698630136986303</c:v>
                </c:pt>
                <c:pt idx="71">
                  <c:v>0.13698630136986303</c:v>
                </c:pt>
                <c:pt idx="72">
                  <c:v>0.16438356164383566</c:v>
                </c:pt>
                <c:pt idx="73">
                  <c:v>0.21917808219178084</c:v>
                </c:pt>
                <c:pt idx="74">
                  <c:v>0.21917808219178084</c:v>
                </c:pt>
                <c:pt idx="75">
                  <c:v>0.24657534246575347</c:v>
                </c:pt>
                <c:pt idx="76">
                  <c:v>0.24657534246575347</c:v>
                </c:pt>
                <c:pt idx="77">
                  <c:v>0.24657534246575347</c:v>
                </c:pt>
                <c:pt idx="78">
                  <c:v>0.24657534246575347</c:v>
                </c:pt>
                <c:pt idx="79">
                  <c:v>0.26027397260273977</c:v>
                </c:pt>
                <c:pt idx="80">
                  <c:v>0.27397260273972601</c:v>
                </c:pt>
                <c:pt idx="81">
                  <c:v>0.27397260273972601</c:v>
                </c:pt>
                <c:pt idx="82">
                  <c:v>0.27397260273972601</c:v>
                </c:pt>
                <c:pt idx="83">
                  <c:v>0.27397260273972601</c:v>
                </c:pt>
                <c:pt idx="84">
                  <c:v>0.28767123287671231</c:v>
                </c:pt>
                <c:pt idx="85">
                  <c:v>0.28767123287671231</c:v>
                </c:pt>
                <c:pt idx="86">
                  <c:v>0.31506849315068497</c:v>
                </c:pt>
                <c:pt idx="87">
                  <c:v>0.31506849315068497</c:v>
                </c:pt>
                <c:pt idx="88">
                  <c:v>0.31506849315068497</c:v>
                </c:pt>
                <c:pt idx="89">
                  <c:v>0.32876712328767127</c:v>
                </c:pt>
                <c:pt idx="90">
                  <c:v>0.32876712328767127</c:v>
                </c:pt>
                <c:pt idx="91">
                  <c:v>0.34246575342465752</c:v>
                </c:pt>
                <c:pt idx="92">
                  <c:v>0.36986301369863017</c:v>
                </c:pt>
                <c:pt idx="93">
                  <c:v>0.38356164383561647</c:v>
                </c:pt>
                <c:pt idx="94">
                  <c:v>0.39726027397260277</c:v>
                </c:pt>
                <c:pt idx="95">
                  <c:v>0.39726027397260277</c:v>
                </c:pt>
                <c:pt idx="96">
                  <c:v>0.41095890410958913</c:v>
                </c:pt>
                <c:pt idx="97">
                  <c:v>0.43835616438356156</c:v>
                </c:pt>
                <c:pt idx="98">
                  <c:v>0.46575342465753422</c:v>
                </c:pt>
                <c:pt idx="99">
                  <c:v>0.49315068493150682</c:v>
                </c:pt>
                <c:pt idx="100">
                  <c:v>0.49315068493150682</c:v>
                </c:pt>
                <c:pt idx="101">
                  <c:v>0.63013698630136983</c:v>
                </c:pt>
              </c:numCache>
            </c:numRef>
          </c:xVal>
          <c:yVal>
            <c:numRef>
              <c:f>Sheet1!$I$3:$I$104</c:f>
              <c:numCache>
                <c:formatCode>0.000</c:formatCode>
                <c:ptCount val="102"/>
                <c:pt idx="0">
                  <c:v>0.81480136958820537</c:v>
                </c:pt>
                <c:pt idx="1">
                  <c:v>0.79796532486028682</c:v>
                </c:pt>
                <c:pt idx="2">
                  <c:v>0.80563309024646235</c:v>
                </c:pt>
                <c:pt idx="3">
                  <c:v>0.78175252510210191</c:v>
                </c:pt>
                <c:pt idx="4">
                  <c:v>0.64879036754222907</c:v>
                </c:pt>
                <c:pt idx="5">
                  <c:v>0.76883553003390914</c:v>
                </c:pt>
                <c:pt idx="6">
                  <c:v>0.68359944215636848</c:v>
                </c:pt>
                <c:pt idx="7">
                  <c:v>0.75691630844029256</c:v>
                </c:pt>
                <c:pt idx="8">
                  <c:v>0.66493698444447502</c:v>
                </c:pt>
                <c:pt idx="9">
                  <c:v>0.65806613633409872</c:v>
                </c:pt>
                <c:pt idx="10">
                  <c:v>0.79460175274109635</c:v>
                </c:pt>
                <c:pt idx="11">
                  <c:v>0.7636652367149378</c:v>
                </c:pt>
                <c:pt idx="12">
                  <c:v>0.66873668343093895</c:v>
                </c:pt>
                <c:pt idx="13">
                  <c:v>0.73873116111620907</c:v>
                </c:pt>
                <c:pt idx="14">
                  <c:v>0.67565419183933084</c:v>
                </c:pt>
                <c:pt idx="15">
                  <c:v>0.71027384072004973</c:v>
                </c:pt>
                <c:pt idx="16">
                  <c:v>0.53973235911512996</c:v>
                </c:pt>
                <c:pt idx="17">
                  <c:v>0.7184963144364408</c:v>
                </c:pt>
                <c:pt idx="18">
                  <c:v>0.73778535549085711</c:v>
                </c:pt>
                <c:pt idx="19">
                  <c:v>0.77469751265689424</c:v>
                </c:pt>
                <c:pt idx="20">
                  <c:v>0.69917713572168427</c:v>
                </c:pt>
                <c:pt idx="21">
                  <c:v>0.69737829123558082</c:v>
                </c:pt>
                <c:pt idx="22">
                  <c:v>0.667347981887497</c:v>
                </c:pt>
                <c:pt idx="23">
                  <c:v>0.71048548124751398</c:v>
                </c:pt>
                <c:pt idx="24">
                  <c:v>0.55282062655318942</c:v>
                </c:pt>
                <c:pt idx="25">
                  <c:v>0.65284322902923442</c:v>
                </c:pt>
                <c:pt idx="26">
                  <c:v>0.69675658468648716</c:v>
                </c:pt>
                <c:pt idx="27">
                  <c:v>0.58429194374648008</c:v>
                </c:pt>
                <c:pt idx="28">
                  <c:v>0.52869763708435569</c:v>
                </c:pt>
                <c:pt idx="29">
                  <c:v>0.49716801374880371</c:v>
                </c:pt>
                <c:pt idx="30">
                  <c:v>0.63377944352494753</c:v>
                </c:pt>
                <c:pt idx="31">
                  <c:v>0.73131360446294602</c:v>
                </c:pt>
                <c:pt idx="32">
                  <c:v>0.69130786800006305</c:v>
                </c:pt>
                <c:pt idx="33">
                  <c:v>0.54223629254902272</c:v>
                </c:pt>
                <c:pt idx="34">
                  <c:v>0.52315735360143045</c:v>
                </c:pt>
                <c:pt idx="35">
                  <c:v>0.61895371458432613</c:v>
                </c:pt>
                <c:pt idx="36">
                  <c:v>0.42544241285400908</c:v>
                </c:pt>
                <c:pt idx="37">
                  <c:v>0.54165593874673612</c:v>
                </c:pt>
                <c:pt idx="38">
                  <c:v>0.44634634943858725</c:v>
                </c:pt>
                <c:pt idx="39">
                  <c:v>0.39440662254394221</c:v>
                </c:pt>
                <c:pt idx="40">
                  <c:v>0.5577592337237558</c:v>
                </c:pt>
                <c:pt idx="41">
                  <c:v>0.59678628851220694</c:v>
                </c:pt>
                <c:pt idx="42">
                  <c:v>0.3935800291339947</c:v>
                </c:pt>
                <c:pt idx="43">
                  <c:v>0.59024249324571798</c:v>
                </c:pt>
                <c:pt idx="44">
                  <c:v>0.58470473277264257</c:v>
                </c:pt>
                <c:pt idx="45">
                  <c:v>0.43605739219732742</c:v>
                </c:pt>
                <c:pt idx="46">
                  <c:v>0.5233303336182078</c:v>
                </c:pt>
                <c:pt idx="47">
                  <c:v>0.51135859034393671</c:v>
                </c:pt>
                <c:pt idx="48">
                  <c:v>0.45258289133482732</c:v>
                </c:pt>
                <c:pt idx="49">
                  <c:v>0.49901085706521531</c:v>
                </c:pt>
                <c:pt idx="50">
                  <c:v>0.32876221382914617</c:v>
                </c:pt>
                <c:pt idx="51">
                  <c:v>0.50529265929668821</c:v>
                </c:pt>
                <c:pt idx="52">
                  <c:v>0.62311214249565805</c:v>
                </c:pt>
                <c:pt idx="53">
                  <c:v>0.30565895109742314</c:v>
                </c:pt>
                <c:pt idx="54">
                  <c:v>0.29067085724244129</c:v>
                </c:pt>
                <c:pt idx="55">
                  <c:v>0.47441603398605037</c:v>
                </c:pt>
                <c:pt idx="56">
                  <c:v>0.5100517327785502</c:v>
                </c:pt>
                <c:pt idx="57">
                  <c:v>0.43463041474835873</c:v>
                </c:pt>
                <c:pt idx="58">
                  <c:v>0.53501876134739068</c:v>
                </c:pt>
                <c:pt idx="59">
                  <c:v>0.49292652650711077</c:v>
                </c:pt>
                <c:pt idx="60">
                  <c:v>5.3053728048583569E-2</c:v>
                </c:pt>
                <c:pt idx="61">
                  <c:v>0.18223121699164677</c:v>
                </c:pt>
                <c:pt idx="62">
                  <c:v>0.27019752459503843</c:v>
                </c:pt>
                <c:pt idx="63">
                  <c:v>0.18974975557572871</c:v>
                </c:pt>
                <c:pt idx="64">
                  <c:v>0.31778382876221384</c:v>
                </c:pt>
                <c:pt idx="65">
                  <c:v>0.2065901694182653</c:v>
                </c:pt>
                <c:pt idx="66">
                  <c:v>0.27630065465336551</c:v>
                </c:pt>
                <c:pt idx="67">
                  <c:v>0.16356854390086367</c:v>
                </c:pt>
                <c:pt idx="68">
                  <c:v>0.2201462398045787</c:v>
                </c:pt>
                <c:pt idx="69">
                  <c:v>0.16725933809021198</c:v>
                </c:pt>
                <c:pt idx="70">
                  <c:v>0.25957851458964293</c:v>
                </c:pt>
                <c:pt idx="71">
                  <c:v>0.24450226923198104</c:v>
                </c:pt>
                <c:pt idx="72">
                  <c:v>0.3850289949214889</c:v>
                </c:pt>
                <c:pt idx="73">
                  <c:v>0.33328757044735791</c:v>
                </c:pt>
                <c:pt idx="74">
                  <c:v>0.23963596783150135</c:v>
                </c:pt>
                <c:pt idx="75">
                  <c:v>0.46240370717529233</c:v>
                </c:pt>
                <c:pt idx="76">
                  <c:v>0.37201226404319587</c:v>
                </c:pt>
                <c:pt idx="77">
                  <c:v>0.27457894657815868</c:v>
                </c:pt>
                <c:pt idx="78">
                  <c:v>0.16550501549743415</c:v>
                </c:pt>
                <c:pt idx="79">
                  <c:v>0.43977793944185606</c:v>
                </c:pt>
                <c:pt idx="80">
                  <c:v>0.46147819331818379</c:v>
                </c:pt>
                <c:pt idx="81">
                  <c:v>0.49915143794331129</c:v>
                </c:pt>
                <c:pt idx="82">
                  <c:v>0.48384612175233255</c:v>
                </c:pt>
                <c:pt idx="83">
                  <c:v>0.21615446900119334</c:v>
                </c:pt>
                <c:pt idx="84">
                  <c:v>0.4760682977535613</c:v>
                </c:pt>
                <c:pt idx="85">
                  <c:v>0.29720437585905413</c:v>
                </c:pt>
                <c:pt idx="86">
                  <c:v>0.43859480166434961</c:v>
                </c:pt>
                <c:pt idx="87">
                  <c:v>0.4891007512907965</c:v>
                </c:pt>
                <c:pt idx="88">
                  <c:v>0.25538284151461327</c:v>
                </c:pt>
                <c:pt idx="89">
                  <c:v>0.50647973543103353</c:v>
                </c:pt>
                <c:pt idx="90">
                  <c:v>0.40713628413078495</c:v>
                </c:pt>
                <c:pt idx="91">
                  <c:v>0.22785077344405369</c:v>
                </c:pt>
                <c:pt idx="92">
                  <c:v>0.54751316764994307</c:v>
                </c:pt>
                <c:pt idx="93">
                  <c:v>0.46014847482208476</c:v>
                </c:pt>
                <c:pt idx="94">
                  <c:v>0.41594706528417213</c:v>
                </c:pt>
                <c:pt idx="95">
                  <c:v>0.44078708184496262</c:v>
                </c:pt>
                <c:pt idx="96">
                  <c:v>0.41336516469223716</c:v>
                </c:pt>
                <c:pt idx="97">
                  <c:v>0.52496967465234157</c:v>
                </c:pt>
                <c:pt idx="98">
                  <c:v>0.36856315573641363</c:v>
                </c:pt>
                <c:pt idx="99">
                  <c:v>0.55992686840571382</c:v>
                </c:pt>
                <c:pt idx="100">
                  <c:v>0.34683917941381498</c:v>
                </c:pt>
                <c:pt idx="101">
                  <c:v>0.734375</c:v>
                </c:pt>
              </c:numCache>
            </c:numRef>
          </c:yVal>
          <c:smooth val="0"/>
          <c:extLst xmlns:c16r2="http://schemas.microsoft.com/office/drawing/2015/06/chart">
            <c:ext xmlns:c16="http://schemas.microsoft.com/office/drawing/2014/chart" uri="{C3380CC4-5D6E-409C-BE32-E72D297353CC}">
              <c16:uniqueId val="{00000067-3323-4D58-96AA-9006918761F0}"/>
            </c:ext>
            <c:ext xmlns:c15="http://schemas.microsoft.com/office/drawing/2012/chart" uri="{02D57815-91ED-43cb-92C2-25804820EDAC}">
              <c15:datalabelsRange>
                <c15:f>Sheet1!$A$3:$A$104</c15:f>
                <c15:dlblRangeCache>
                  <c:ptCount val="102"/>
                  <c:pt idx="0">
                    <c:v>Finland</c:v>
                  </c:pt>
                  <c:pt idx="1">
                    <c:v>Denmark</c:v>
                  </c:pt>
                  <c:pt idx="4">
                    <c:v>United States</c:v>
                  </c:pt>
                  <c:pt idx="6">
                    <c:v>Netherlands</c:v>
                  </c:pt>
                  <c:pt idx="7">
                    <c:v>Estonia</c:v>
                  </c:pt>
                  <c:pt idx="8">
                    <c:v>Austria</c:v>
                  </c:pt>
                  <c:pt idx="10">
                    <c:v>New Zealand</c:v>
                  </c:pt>
                  <c:pt idx="11">
                    <c:v>Switzerland</c:v>
                  </c:pt>
                  <c:pt idx="13">
                    <c:v>Slovenia</c:v>
                  </c:pt>
                  <c:pt idx="14">
                    <c:v>Japan</c:v>
                  </c:pt>
                  <c:pt idx="15">
                    <c:v>United Kingdom</c:v>
                  </c:pt>
                  <c:pt idx="16">
                    <c:v>Italy</c:v>
                  </c:pt>
                  <c:pt idx="18">
                    <c:v>Germany</c:v>
                  </c:pt>
                  <c:pt idx="21">
                    <c:v>Lithuania</c:v>
                  </c:pt>
                  <c:pt idx="25">
                    <c:v>Iceland</c:v>
                  </c:pt>
                  <c:pt idx="26">
                    <c:v>Chile</c:v>
                  </c:pt>
                  <c:pt idx="31">
                    <c:v>Singapore</c:v>
                  </c:pt>
                  <c:pt idx="33">
                    <c:v>Bulgaria</c:v>
                  </c:pt>
                  <c:pt idx="34">
                    <c:v>Kazakhstan</c:v>
                  </c:pt>
                  <c:pt idx="35">
                    <c:v>Israel</c:v>
                  </c:pt>
                  <c:pt idx="36">
                    <c:v>Russian Federation</c:v>
                  </c:pt>
                  <c:pt idx="37">
                    <c:v>Costa Rica</c:v>
                  </c:pt>
                  <c:pt idx="39">
                    <c:v>Romania</c:v>
                  </c:pt>
                  <c:pt idx="40">
                    <c:v>Brazil</c:v>
                  </c:pt>
                  <c:pt idx="42">
                    <c:v>Vietnam</c:v>
                  </c:pt>
                  <c:pt idx="43">
                    <c:v>Uruguay</c:v>
                  </c:pt>
                  <c:pt idx="44">
                    <c:v>United Arab Emirates</c:v>
                  </c:pt>
                  <c:pt idx="45">
                    <c:v>Thailand</c:v>
                  </c:pt>
                  <c:pt idx="46">
                    <c:v>South Africa</c:v>
                  </c:pt>
                  <c:pt idx="47">
                    <c:v>Serbia</c:v>
                  </c:pt>
                  <c:pt idx="48">
                    <c:v>Rwanda</c:v>
                  </c:pt>
                  <c:pt idx="49">
                    <c:v>Philippines</c:v>
                  </c:pt>
                  <c:pt idx="50">
                    <c:v>Morocco</c:v>
                  </c:pt>
                  <c:pt idx="51">
                    <c:v>Montenegro</c:v>
                  </c:pt>
                  <c:pt idx="52">
                    <c:v>Mauritius</c:v>
                  </c:pt>
                  <c:pt idx="53">
                    <c:v>Malawi</c:v>
                  </c:pt>
                  <c:pt idx="54">
                    <c:v>Kenya</c:v>
                  </c:pt>
                  <c:pt idx="55">
                    <c:v>Indonesia</c:v>
                  </c:pt>
                  <c:pt idx="56">
                    <c:v>India</c:v>
                  </c:pt>
                  <c:pt idx="57">
                    <c:v>China</c:v>
                  </c:pt>
                  <c:pt idx="58">
                    <c:v>Botswana</c:v>
                  </c:pt>
                  <c:pt idx="59">
                    <c:v>Albania</c:v>
                  </c:pt>
                </c15:dlblRangeCache>
              </c15:datalabelsRange>
            </c:ext>
          </c:extLst>
        </c:ser>
        <c:dLbls>
          <c:dLblPos val="t"/>
          <c:showLegendKey val="0"/>
          <c:showVal val="1"/>
          <c:showCatName val="0"/>
          <c:showSerName val="0"/>
          <c:showPercent val="0"/>
          <c:showBubbleSize val="0"/>
        </c:dLbls>
        <c:axId val="230481000"/>
        <c:axId val="230474336"/>
      </c:scatterChart>
      <c:valAx>
        <c:axId val="230481000"/>
        <c:scaling>
          <c:orientation val="minMax"/>
          <c:max val="1"/>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Anti-Corruption</a:t>
                </a:r>
              </a:p>
            </c:rich>
          </c:tx>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74336"/>
        <c:crosses val="autoZero"/>
        <c:crossBetween val="midCat"/>
      </c:valAx>
      <c:valAx>
        <c:axId val="230474336"/>
        <c:scaling>
          <c:orientation val="minMax"/>
          <c:max val="1"/>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r>
                  <a:rPr lang="en-SG" sz="1100"/>
                  <a:t>Strong Institutions</a:t>
                </a:r>
                <a:r>
                  <a:rPr lang="en-SG" sz="1100" baseline="0"/>
                  <a:t> Pillar</a:t>
                </a:r>
                <a:endParaRPr lang="en-SG" sz="1100"/>
              </a:p>
            </c:rich>
          </c:tx>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Gill Sans Std Light" panose="020B0302020104020203" pitchFamily="34" charset="0"/>
                <a:ea typeface="+mn-ea"/>
                <a:cs typeface="+mn-cs"/>
              </a:defRPr>
            </a:pPr>
            <a:endParaRPr lang="fr-FR"/>
          </a:p>
        </c:txPr>
        <c:crossAx val="230481000"/>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rgbClr val="966E32"/>
      </a:solidFill>
      <a:round/>
    </a:ln>
    <a:effectLst/>
  </c:spPr>
  <c:txPr>
    <a:bodyPr/>
    <a:lstStyle/>
    <a:p>
      <a:pPr>
        <a:defRPr>
          <a:latin typeface="Gill Sans Std Light" panose="020B0302020104020203"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91A3869F-AC7F-4C44-B8A9-F177C53DBB15}"/>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xmlns="" id="{BED3BA74-0ECD-4E07-933B-AE94036F44F8}"/>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D1B6AE62-A7C3-438D-98BF-A2B12BE993BF}" type="datetimeFigureOut">
              <a:rPr lang="en-GB" smtClean="0"/>
              <a:t>09/05/2022</a:t>
            </a:fld>
            <a:endParaRPr lang="en-GB"/>
          </a:p>
        </p:txBody>
      </p:sp>
      <p:sp>
        <p:nvSpPr>
          <p:cNvPr id="4" name="Footer Placeholder 3">
            <a:extLst>
              <a:ext uri="{FF2B5EF4-FFF2-40B4-BE49-F238E27FC236}">
                <a16:creationId xmlns:a16="http://schemas.microsoft.com/office/drawing/2014/main" xmlns="" id="{C8A44874-4B00-4675-B784-8307A35BB6A1}"/>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xmlns="" id="{D33ADC1B-5721-4584-8912-D3C4DE7C1E5C}"/>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2A013101-CB80-46BF-926E-E1AD6F60A124}" type="slidenum">
              <a:rPr lang="en-GB" smtClean="0"/>
              <a:t>‹#›</a:t>
            </a:fld>
            <a:endParaRPr lang="en-GB"/>
          </a:p>
        </p:txBody>
      </p:sp>
    </p:spTree>
    <p:extLst>
      <p:ext uri="{BB962C8B-B14F-4D97-AF65-F5344CB8AC3E}">
        <p14:creationId xmlns:p14="http://schemas.microsoft.com/office/powerpoint/2010/main" val="249150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BE7D0CAB-A1C5-4117-9773-E97A6945674A}" type="datetimeFigureOut">
              <a:rPr lang="en-GB" smtClean="0"/>
              <a:t>09/05/2022</a:t>
            </a:fld>
            <a:endParaRPr lang="en-GB"/>
          </a:p>
        </p:txBody>
      </p:sp>
      <p:sp>
        <p:nvSpPr>
          <p:cNvPr id="4" name="Slide Image Placeholder 3"/>
          <p:cNvSpPr>
            <a:spLocks noGrp="1" noRot="1" noChangeAspect="1"/>
          </p:cNvSpPr>
          <p:nvPr>
            <p:ph type="sldImg" idx="2"/>
          </p:nvPr>
        </p:nvSpPr>
        <p:spPr>
          <a:xfrm>
            <a:off x="2900363" y="857250"/>
            <a:ext cx="3343275"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9A2140B7-433C-4EE7-8A62-E8CE4FD36A44}" type="slidenum">
              <a:rPr lang="en-GB" smtClean="0"/>
              <a:t>‹#›</a:t>
            </a:fld>
            <a:endParaRPr lang="en-GB"/>
          </a:p>
        </p:txBody>
      </p:sp>
    </p:spTree>
    <p:extLst>
      <p:ext uri="{BB962C8B-B14F-4D97-AF65-F5344CB8AC3E}">
        <p14:creationId xmlns:p14="http://schemas.microsoft.com/office/powerpoint/2010/main" val="1597656876"/>
      </p:ext>
    </p:extLst>
  </p:cSld>
  <p:clrMap bg1="lt1" tx1="dk1" bg2="lt2" tx2="dk2" accent1="accent1" accent2="accent2" accent3="accent3" accent4="accent4" accent5="accent5" accent6="accent6" hlink="hlink" folHlink="folHlink"/>
  <p:notesStyle>
    <a:lvl1pPr marL="0" algn="l" defTabSz="729966" rtl="0" eaLnBrk="1" latinLnBrk="0" hangingPunct="1">
      <a:defRPr sz="958" kern="1200">
        <a:solidFill>
          <a:schemeClr val="tx1"/>
        </a:solidFill>
        <a:latin typeface="+mn-lt"/>
        <a:ea typeface="+mn-ea"/>
        <a:cs typeface="+mn-cs"/>
      </a:defRPr>
    </a:lvl1pPr>
    <a:lvl2pPr marL="364983" algn="l" defTabSz="729966" rtl="0" eaLnBrk="1" latinLnBrk="0" hangingPunct="1">
      <a:defRPr sz="958" kern="1200">
        <a:solidFill>
          <a:schemeClr val="tx1"/>
        </a:solidFill>
        <a:latin typeface="+mn-lt"/>
        <a:ea typeface="+mn-ea"/>
        <a:cs typeface="+mn-cs"/>
      </a:defRPr>
    </a:lvl2pPr>
    <a:lvl3pPr marL="729966" algn="l" defTabSz="729966" rtl="0" eaLnBrk="1" latinLnBrk="0" hangingPunct="1">
      <a:defRPr sz="958" kern="1200">
        <a:solidFill>
          <a:schemeClr val="tx1"/>
        </a:solidFill>
        <a:latin typeface="+mn-lt"/>
        <a:ea typeface="+mn-ea"/>
        <a:cs typeface="+mn-cs"/>
      </a:defRPr>
    </a:lvl3pPr>
    <a:lvl4pPr marL="1094948" algn="l" defTabSz="729966" rtl="0" eaLnBrk="1" latinLnBrk="0" hangingPunct="1">
      <a:defRPr sz="958" kern="1200">
        <a:solidFill>
          <a:schemeClr val="tx1"/>
        </a:solidFill>
        <a:latin typeface="+mn-lt"/>
        <a:ea typeface="+mn-ea"/>
        <a:cs typeface="+mn-cs"/>
      </a:defRPr>
    </a:lvl4pPr>
    <a:lvl5pPr marL="1459931" algn="l" defTabSz="729966" rtl="0" eaLnBrk="1" latinLnBrk="0" hangingPunct="1">
      <a:defRPr sz="958" kern="1200">
        <a:solidFill>
          <a:schemeClr val="tx1"/>
        </a:solidFill>
        <a:latin typeface="+mn-lt"/>
        <a:ea typeface="+mn-ea"/>
        <a:cs typeface="+mn-cs"/>
      </a:defRPr>
    </a:lvl5pPr>
    <a:lvl6pPr marL="1824914" algn="l" defTabSz="729966" rtl="0" eaLnBrk="1" latinLnBrk="0" hangingPunct="1">
      <a:defRPr sz="958" kern="1200">
        <a:solidFill>
          <a:schemeClr val="tx1"/>
        </a:solidFill>
        <a:latin typeface="+mn-lt"/>
        <a:ea typeface="+mn-ea"/>
        <a:cs typeface="+mn-cs"/>
      </a:defRPr>
    </a:lvl6pPr>
    <a:lvl7pPr marL="2189897" algn="l" defTabSz="729966" rtl="0" eaLnBrk="1" latinLnBrk="0" hangingPunct="1">
      <a:defRPr sz="958" kern="1200">
        <a:solidFill>
          <a:schemeClr val="tx1"/>
        </a:solidFill>
        <a:latin typeface="+mn-lt"/>
        <a:ea typeface="+mn-ea"/>
        <a:cs typeface="+mn-cs"/>
      </a:defRPr>
    </a:lvl7pPr>
    <a:lvl8pPr marL="2554879" algn="l" defTabSz="729966" rtl="0" eaLnBrk="1" latinLnBrk="0" hangingPunct="1">
      <a:defRPr sz="958" kern="1200">
        <a:solidFill>
          <a:schemeClr val="tx1"/>
        </a:solidFill>
        <a:latin typeface="+mn-lt"/>
        <a:ea typeface="+mn-ea"/>
        <a:cs typeface="+mn-cs"/>
      </a:defRPr>
    </a:lvl8pPr>
    <a:lvl9pPr marL="2919862" algn="l" defTabSz="729966" rtl="0" eaLnBrk="1" latinLnBrk="0" hangingPunct="1">
      <a:defRPr sz="9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1</a:t>
            </a:fld>
            <a:endParaRPr lang="en-GB"/>
          </a:p>
        </p:txBody>
      </p:sp>
    </p:spTree>
    <p:extLst>
      <p:ext uri="{BB962C8B-B14F-4D97-AF65-F5344CB8AC3E}">
        <p14:creationId xmlns:p14="http://schemas.microsoft.com/office/powerpoint/2010/main" val="424279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10</a:t>
            </a:fld>
            <a:endParaRPr lang="en-GB"/>
          </a:p>
        </p:txBody>
      </p:sp>
    </p:spTree>
    <p:extLst>
      <p:ext uri="{BB962C8B-B14F-4D97-AF65-F5344CB8AC3E}">
        <p14:creationId xmlns:p14="http://schemas.microsoft.com/office/powerpoint/2010/main" val="677595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11</a:t>
            </a:fld>
            <a:endParaRPr lang="en-GB"/>
          </a:p>
        </p:txBody>
      </p:sp>
    </p:spTree>
    <p:extLst>
      <p:ext uri="{BB962C8B-B14F-4D97-AF65-F5344CB8AC3E}">
        <p14:creationId xmlns:p14="http://schemas.microsoft.com/office/powerpoint/2010/main" val="406389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12</a:t>
            </a:fld>
            <a:endParaRPr lang="en-GB"/>
          </a:p>
        </p:txBody>
      </p:sp>
    </p:spTree>
    <p:extLst>
      <p:ext uri="{BB962C8B-B14F-4D97-AF65-F5344CB8AC3E}">
        <p14:creationId xmlns:p14="http://schemas.microsoft.com/office/powerpoint/2010/main" val="512468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13</a:t>
            </a:fld>
            <a:endParaRPr lang="en-GB"/>
          </a:p>
        </p:txBody>
      </p:sp>
    </p:spTree>
    <p:extLst>
      <p:ext uri="{BB962C8B-B14F-4D97-AF65-F5344CB8AC3E}">
        <p14:creationId xmlns:p14="http://schemas.microsoft.com/office/powerpoint/2010/main" val="10852366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14</a:t>
            </a:fld>
            <a:endParaRPr lang="en-GB"/>
          </a:p>
        </p:txBody>
      </p:sp>
    </p:spTree>
    <p:extLst>
      <p:ext uri="{BB962C8B-B14F-4D97-AF65-F5344CB8AC3E}">
        <p14:creationId xmlns:p14="http://schemas.microsoft.com/office/powerpoint/2010/main" val="3436287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043056" rtl="0" eaLnBrk="1" fontAlgn="auto" latinLnBrk="0" hangingPunct="1">
              <a:lnSpc>
                <a:spcPct val="100000"/>
              </a:lnSpc>
              <a:spcBef>
                <a:spcPts val="0"/>
              </a:spcBef>
              <a:spcAft>
                <a:spcPts val="0"/>
              </a:spcAft>
              <a:buClrTx/>
              <a:buSzTx/>
              <a:buFontTx/>
              <a:buNone/>
              <a:tabLst/>
              <a:defRPr/>
            </a:pPr>
            <a:fld id="{3BFD44CF-BB31-4D98-A2B3-1B67FCF61C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4305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432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16</a:t>
            </a:fld>
            <a:endParaRPr lang="en-GB"/>
          </a:p>
        </p:txBody>
      </p:sp>
    </p:spTree>
    <p:extLst>
      <p:ext uri="{BB962C8B-B14F-4D97-AF65-F5344CB8AC3E}">
        <p14:creationId xmlns:p14="http://schemas.microsoft.com/office/powerpoint/2010/main" val="14654175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17</a:t>
            </a:fld>
            <a:endParaRPr lang="en-GB"/>
          </a:p>
        </p:txBody>
      </p:sp>
    </p:spTree>
    <p:extLst>
      <p:ext uri="{BB962C8B-B14F-4D97-AF65-F5344CB8AC3E}">
        <p14:creationId xmlns:p14="http://schemas.microsoft.com/office/powerpoint/2010/main" val="1554565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18</a:t>
            </a:fld>
            <a:endParaRPr lang="en-GB"/>
          </a:p>
        </p:txBody>
      </p:sp>
    </p:spTree>
    <p:extLst>
      <p:ext uri="{BB962C8B-B14F-4D97-AF65-F5344CB8AC3E}">
        <p14:creationId xmlns:p14="http://schemas.microsoft.com/office/powerpoint/2010/main" val="3749863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19</a:t>
            </a:fld>
            <a:endParaRPr lang="en-GB"/>
          </a:p>
        </p:txBody>
      </p:sp>
    </p:spTree>
    <p:extLst>
      <p:ext uri="{BB962C8B-B14F-4D97-AF65-F5344CB8AC3E}">
        <p14:creationId xmlns:p14="http://schemas.microsoft.com/office/powerpoint/2010/main" val="553121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2</a:t>
            </a:fld>
            <a:endParaRPr lang="en-GB"/>
          </a:p>
        </p:txBody>
      </p:sp>
    </p:spTree>
    <p:extLst>
      <p:ext uri="{BB962C8B-B14F-4D97-AF65-F5344CB8AC3E}">
        <p14:creationId xmlns:p14="http://schemas.microsoft.com/office/powerpoint/2010/main" val="3334740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20</a:t>
            </a:fld>
            <a:endParaRPr lang="en-GB"/>
          </a:p>
        </p:txBody>
      </p:sp>
    </p:spTree>
    <p:extLst>
      <p:ext uri="{BB962C8B-B14F-4D97-AF65-F5344CB8AC3E}">
        <p14:creationId xmlns:p14="http://schemas.microsoft.com/office/powerpoint/2010/main" val="12279812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solidFill>
                <a:srgbClr val="FF0000"/>
              </a:solidFill>
              <a:highlight>
                <a:srgbClr val="FFFF00"/>
              </a:highlight>
            </a:endParaRPr>
          </a:p>
        </p:txBody>
      </p:sp>
      <p:sp>
        <p:nvSpPr>
          <p:cNvPr id="4" name="Slide Number Placeholder 3"/>
          <p:cNvSpPr>
            <a:spLocks noGrp="1"/>
          </p:cNvSpPr>
          <p:nvPr>
            <p:ph type="sldNum" sz="quarter" idx="5"/>
          </p:nvPr>
        </p:nvSpPr>
        <p:spPr/>
        <p:txBody>
          <a:bodyPr/>
          <a:lstStyle/>
          <a:p>
            <a:fld id="{9A2140B7-433C-4EE7-8A62-E8CE4FD36A44}" type="slidenum">
              <a:rPr lang="en-GB" smtClean="0"/>
              <a:t>21</a:t>
            </a:fld>
            <a:endParaRPr lang="en-GB"/>
          </a:p>
        </p:txBody>
      </p:sp>
    </p:spTree>
    <p:extLst>
      <p:ext uri="{BB962C8B-B14F-4D97-AF65-F5344CB8AC3E}">
        <p14:creationId xmlns:p14="http://schemas.microsoft.com/office/powerpoint/2010/main" val="1878560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24</a:t>
            </a:fld>
            <a:endParaRPr lang="en-GB"/>
          </a:p>
        </p:txBody>
      </p:sp>
    </p:spTree>
    <p:extLst>
      <p:ext uri="{BB962C8B-B14F-4D97-AF65-F5344CB8AC3E}">
        <p14:creationId xmlns:p14="http://schemas.microsoft.com/office/powerpoint/2010/main" val="7047064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ti-corruption efforts cannot just be left to the responsibility of anti-corruption investigation agencies or commissions. Needs a whole-of-government effort to succeed. This also means that a wide range of capabilities across domains like organisational and system design, leadership, communications, operations, project management, legislative drafting, HRM, finance, law enforcement and training will be necessary to effectively create public sector environments that are hostile to corrupt practices.</a:t>
            </a:r>
          </a:p>
        </p:txBody>
      </p:sp>
      <p:sp>
        <p:nvSpPr>
          <p:cNvPr id="4" name="Slide Number Placeholder 3"/>
          <p:cNvSpPr>
            <a:spLocks noGrp="1"/>
          </p:cNvSpPr>
          <p:nvPr>
            <p:ph type="sldNum" sz="quarter" idx="10"/>
          </p:nvPr>
        </p:nvSpPr>
        <p:spPr/>
        <p:txBody>
          <a:bodyPr/>
          <a:lstStyle/>
          <a:p>
            <a:pPr marL="0" marR="0" lvl="0" indent="0" algn="r" defTabSz="1043056" rtl="0" eaLnBrk="1" fontAlgn="auto" latinLnBrk="0" hangingPunct="1">
              <a:lnSpc>
                <a:spcPct val="100000"/>
              </a:lnSpc>
              <a:spcBef>
                <a:spcPts val="0"/>
              </a:spcBef>
              <a:spcAft>
                <a:spcPts val="0"/>
              </a:spcAft>
              <a:buClrTx/>
              <a:buSzTx/>
              <a:buFontTx/>
              <a:buNone/>
              <a:tabLst/>
              <a:defRPr/>
            </a:pPr>
            <a:fld id="{3BFD44CF-BB31-4D98-A2B3-1B67FCF61C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43056"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12525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26</a:t>
            </a:fld>
            <a:endParaRPr lang="en-GB"/>
          </a:p>
        </p:txBody>
      </p:sp>
    </p:spTree>
    <p:extLst>
      <p:ext uri="{BB962C8B-B14F-4D97-AF65-F5344CB8AC3E}">
        <p14:creationId xmlns:p14="http://schemas.microsoft.com/office/powerpoint/2010/main" val="629848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27</a:t>
            </a:fld>
            <a:endParaRPr lang="en-GB"/>
          </a:p>
        </p:txBody>
      </p:sp>
    </p:spTree>
    <p:extLst>
      <p:ext uri="{BB962C8B-B14F-4D97-AF65-F5344CB8AC3E}">
        <p14:creationId xmlns:p14="http://schemas.microsoft.com/office/powerpoint/2010/main" val="3728417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28</a:t>
            </a:fld>
            <a:endParaRPr lang="en-GB"/>
          </a:p>
        </p:txBody>
      </p:sp>
    </p:spTree>
    <p:extLst>
      <p:ext uri="{BB962C8B-B14F-4D97-AF65-F5344CB8AC3E}">
        <p14:creationId xmlns:p14="http://schemas.microsoft.com/office/powerpoint/2010/main" val="28954505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29</a:t>
            </a:fld>
            <a:endParaRPr lang="en-GB"/>
          </a:p>
        </p:txBody>
      </p:sp>
    </p:spTree>
    <p:extLst>
      <p:ext uri="{BB962C8B-B14F-4D97-AF65-F5344CB8AC3E}">
        <p14:creationId xmlns:p14="http://schemas.microsoft.com/office/powerpoint/2010/main" val="35204830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30</a:t>
            </a:fld>
            <a:endParaRPr lang="en-GB"/>
          </a:p>
        </p:txBody>
      </p:sp>
    </p:spTree>
    <p:extLst>
      <p:ext uri="{BB962C8B-B14F-4D97-AF65-F5344CB8AC3E}">
        <p14:creationId xmlns:p14="http://schemas.microsoft.com/office/powerpoint/2010/main" val="19995691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31</a:t>
            </a:fld>
            <a:endParaRPr lang="en-GB"/>
          </a:p>
        </p:txBody>
      </p:sp>
    </p:spTree>
    <p:extLst>
      <p:ext uri="{BB962C8B-B14F-4D97-AF65-F5344CB8AC3E}">
        <p14:creationId xmlns:p14="http://schemas.microsoft.com/office/powerpoint/2010/main" val="8109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3</a:t>
            </a:fld>
            <a:endParaRPr lang="en-GB"/>
          </a:p>
        </p:txBody>
      </p:sp>
    </p:spTree>
    <p:extLst>
      <p:ext uri="{BB962C8B-B14F-4D97-AF65-F5344CB8AC3E}">
        <p14:creationId xmlns:p14="http://schemas.microsoft.com/office/powerpoint/2010/main" val="4004633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4</a:t>
            </a:fld>
            <a:endParaRPr lang="en-GB"/>
          </a:p>
        </p:txBody>
      </p:sp>
    </p:spTree>
    <p:extLst>
      <p:ext uri="{BB962C8B-B14F-4D97-AF65-F5344CB8AC3E}">
        <p14:creationId xmlns:p14="http://schemas.microsoft.com/office/powerpoint/2010/main" val="4278076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5</a:t>
            </a:fld>
            <a:endParaRPr lang="en-GB"/>
          </a:p>
        </p:txBody>
      </p:sp>
    </p:spTree>
    <p:extLst>
      <p:ext uri="{BB962C8B-B14F-4D97-AF65-F5344CB8AC3E}">
        <p14:creationId xmlns:p14="http://schemas.microsoft.com/office/powerpoint/2010/main" val="1792096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a:lnSpc>
                <a:spcPct val="107000"/>
              </a:lnSpc>
              <a:spcAft>
                <a:spcPts val="800"/>
              </a:spcAft>
            </a:pPr>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6</a:t>
            </a:fld>
            <a:endParaRPr lang="en-GB"/>
          </a:p>
        </p:txBody>
      </p:sp>
    </p:spTree>
    <p:extLst>
      <p:ext uri="{BB962C8B-B14F-4D97-AF65-F5344CB8AC3E}">
        <p14:creationId xmlns:p14="http://schemas.microsoft.com/office/powerpoint/2010/main" val="289133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7</a:t>
            </a:fld>
            <a:endParaRPr lang="en-GB"/>
          </a:p>
        </p:txBody>
      </p:sp>
    </p:spTree>
    <p:extLst>
      <p:ext uri="{BB962C8B-B14F-4D97-AF65-F5344CB8AC3E}">
        <p14:creationId xmlns:p14="http://schemas.microsoft.com/office/powerpoint/2010/main" val="2406346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fld id="{9A2140B7-433C-4EE7-8A62-E8CE4FD36A44}" type="slidenum">
              <a:rPr lang="en-GB" smtClean="0"/>
              <a:t>8</a:t>
            </a:fld>
            <a:endParaRPr lang="en-GB"/>
          </a:p>
        </p:txBody>
      </p:sp>
    </p:spTree>
    <p:extLst>
      <p:ext uri="{BB962C8B-B14F-4D97-AF65-F5344CB8AC3E}">
        <p14:creationId xmlns:p14="http://schemas.microsoft.com/office/powerpoint/2010/main" val="3343516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0363" y="857250"/>
            <a:ext cx="3343275" cy="23145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A2140B7-433C-4EE7-8A62-E8CE4FD36A44}" type="slidenum">
              <a:rPr lang="en-GB" smtClean="0"/>
              <a:t>9</a:t>
            </a:fld>
            <a:endParaRPr lang="en-GB"/>
          </a:p>
        </p:txBody>
      </p:sp>
    </p:spTree>
    <p:extLst>
      <p:ext uri="{BB962C8B-B14F-4D97-AF65-F5344CB8AC3E}">
        <p14:creationId xmlns:p14="http://schemas.microsoft.com/office/powerpoint/2010/main" val="2215890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7" name="Picture 86">
            <a:extLst>
              <a:ext uri="{FF2B5EF4-FFF2-40B4-BE49-F238E27FC236}">
                <a16:creationId xmlns:a16="http://schemas.microsoft.com/office/drawing/2014/main" xmlns="" id="{3CCE9E11-08A1-4DB9-A048-86184F7A04A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32882" y="317771"/>
            <a:ext cx="2796354" cy="1701247"/>
          </a:xfrm>
          <a:prstGeom prst="rect">
            <a:avLst/>
          </a:prstGeom>
        </p:spPr>
      </p:pic>
      <p:sp>
        <p:nvSpPr>
          <p:cNvPr id="4" name="Text Placeholder 2">
            <a:extLst>
              <a:ext uri="{FF2B5EF4-FFF2-40B4-BE49-F238E27FC236}">
                <a16:creationId xmlns:a16="http://schemas.microsoft.com/office/drawing/2014/main" xmlns="" id="{AAE63FBE-9EAD-463D-8F93-D1D1E94CAB01}"/>
              </a:ext>
            </a:extLst>
          </p:cNvPr>
          <p:cNvSpPr>
            <a:spLocks noGrp="1"/>
          </p:cNvSpPr>
          <p:nvPr>
            <p:ph type="body" sz="quarter" idx="13" hasCustomPrompt="1"/>
          </p:nvPr>
        </p:nvSpPr>
        <p:spPr>
          <a:xfrm>
            <a:off x="1" y="3765897"/>
            <a:ext cx="9905998" cy="309633"/>
          </a:xfrm>
          <a:prstGeom prst="rect">
            <a:avLst/>
          </a:prstGeom>
        </p:spPr>
        <p:txBody>
          <a:bodyPr/>
          <a:lstStyle>
            <a:lvl1pPr marL="0" indent="0" algn="ctr" defTabSz="674004" rtl="0" eaLnBrk="1" latinLnBrk="0" hangingPunct="1">
              <a:lnSpc>
                <a:spcPct val="90000"/>
              </a:lnSpc>
              <a:spcBef>
                <a:spcPts val="812"/>
              </a:spcBef>
              <a:buFont typeface="Arial" panose="020B0604020202020204" pitchFamily="34" charset="0"/>
              <a:buNone/>
              <a:defRPr lang="en-GB" sz="1474" i="0" kern="1200" dirty="0">
                <a:solidFill>
                  <a:srgbClr val="404040"/>
                </a:solidFill>
                <a:latin typeface="Gill Sans Std Light" panose="020B0302020104020203" pitchFamily="34" charset="0"/>
                <a:ea typeface="+mn-ea"/>
                <a:cs typeface="Arial" panose="020B0604020202020204" pitchFamily="34" charset="0"/>
              </a:defRPr>
            </a:lvl1pPr>
          </a:lstStyle>
          <a:p>
            <a:pPr lvl="0"/>
            <a:r>
              <a:rPr lang="en-US" dirty="0"/>
              <a:t>Subtitle</a:t>
            </a:r>
            <a:endParaRPr lang="en-GB" dirty="0"/>
          </a:p>
        </p:txBody>
      </p:sp>
      <p:sp>
        <p:nvSpPr>
          <p:cNvPr id="7" name="Text Placeholder 2">
            <a:extLst>
              <a:ext uri="{FF2B5EF4-FFF2-40B4-BE49-F238E27FC236}">
                <a16:creationId xmlns:a16="http://schemas.microsoft.com/office/drawing/2014/main" xmlns="" id="{CB35015F-EE57-4C2C-A49E-1A773E7F9872}"/>
              </a:ext>
            </a:extLst>
          </p:cNvPr>
          <p:cNvSpPr>
            <a:spLocks noGrp="1"/>
          </p:cNvSpPr>
          <p:nvPr>
            <p:ph type="body" sz="quarter" idx="11" hasCustomPrompt="1"/>
          </p:nvPr>
        </p:nvSpPr>
        <p:spPr>
          <a:xfrm>
            <a:off x="1" y="6033605"/>
            <a:ext cx="9905998" cy="242453"/>
          </a:xfrm>
          <a:prstGeom prst="rect">
            <a:avLst/>
          </a:prstGeom>
        </p:spPr>
        <p:txBody>
          <a:bodyPr/>
          <a:lstStyle>
            <a:lvl1pPr marL="0" indent="0" algn="ctr">
              <a:buNone/>
              <a:defRPr lang="en-GB" sz="885" i="0" kern="1200" dirty="0">
                <a:solidFill>
                  <a:srgbClr val="404040"/>
                </a:solidFill>
                <a:latin typeface="Gill Sans MT Std Light"/>
                <a:ea typeface="+mn-ea"/>
                <a:cs typeface="+mn-cs"/>
              </a:defRPr>
            </a:lvl1pPr>
          </a:lstStyle>
          <a:p>
            <a:pPr lvl="0"/>
            <a:r>
              <a:rPr lang="en-US" dirty="0"/>
              <a:t>Month 2021</a:t>
            </a:r>
            <a:endParaRPr lang="en-GB" dirty="0"/>
          </a:p>
        </p:txBody>
      </p:sp>
      <p:sp>
        <p:nvSpPr>
          <p:cNvPr id="6" name="Text Placeholder 2">
            <a:extLst>
              <a:ext uri="{FF2B5EF4-FFF2-40B4-BE49-F238E27FC236}">
                <a16:creationId xmlns:a16="http://schemas.microsoft.com/office/drawing/2014/main" xmlns="" id="{E6C4653D-6080-4C1F-B483-B43AF2B93543}"/>
              </a:ext>
            </a:extLst>
          </p:cNvPr>
          <p:cNvSpPr>
            <a:spLocks noGrp="1"/>
          </p:cNvSpPr>
          <p:nvPr>
            <p:ph type="body" sz="quarter" idx="15" hasCustomPrompt="1"/>
          </p:nvPr>
        </p:nvSpPr>
        <p:spPr>
          <a:xfrm>
            <a:off x="1" y="2990083"/>
            <a:ext cx="9905998" cy="642486"/>
          </a:xfrm>
          <a:prstGeom prst="rect">
            <a:avLst/>
          </a:prstGeom>
        </p:spPr>
        <p:txBody>
          <a:bodyPr/>
          <a:lstStyle>
            <a:lvl1pPr marL="0" indent="0" algn="ctr" defTabSz="674004" rtl="0" eaLnBrk="1" latinLnBrk="0" hangingPunct="1">
              <a:lnSpc>
                <a:spcPct val="90000"/>
              </a:lnSpc>
              <a:spcBef>
                <a:spcPts val="812"/>
              </a:spcBef>
              <a:buFont typeface="Arial" panose="020B0604020202020204" pitchFamily="34" charset="0"/>
              <a:buNone/>
              <a:defRPr lang="en-GB" sz="2359" i="0" kern="1200" dirty="0">
                <a:solidFill>
                  <a:srgbClr val="966E32"/>
                </a:solidFill>
                <a:latin typeface="Gill Sans Std Light" panose="020B0302020104020203" pitchFamily="34" charset="0"/>
                <a:ea typeface="+mn-ea"/>
                <a:cs typeface="Arial" panose="020B0604020202020204" pitchFamily="34" charset="0"/>
              </a:defRPr>
            </a:lvl1pPr>
          </a:lstStyle>
          <a:p>
            <a:pPr lvl="0"/>
            <a:r>
              <a:rPr lang="en-US" dirty="0"/>
              <a:t>Main Title</a:t>
            </a:r>
            <a:endParaRPr lang="en-GB" dirty="0"/>
          </a:p>
        </p:txBody>
      </p:sp>
    </p:spTree>
    <p:extLst>
      <p:ext uri="{BB962C8B-B14F-4D97-AF65-F5344CB8AC3E}">
        <p14:creationId xmlns:p14="http://schemas.microsoft.com/office/powerpoint/2010/main" val="12531990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without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1203629"/>
            <a:ext cx="4178464" cy="5091326"/>
          </a:xfrm>
          <a:prstGeom prst="rect">
            <a:avLst/>
          </a:prstGeom>
        </p:spPr>
        <p:txBody>
          <a:bodyPr wrap="square" lIns="0" tIns="216000" rIns="0" bIns="0"/>
          <a:lstStyle>
            <a:lvl1pPr marL="0" indent="0">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13" name="Content Placeholder 4">
            <a:extLst>
              <a:ext uri="{FF2B5EF4-FFF2-40B4-BE49-F238E27FC236}">
                <a16:creationId xmlns:a16="http://schemas.microsoft.com/office/drawing/2014/main" xmlns="" id="{DE1EEEDF-BDA5-4913-8A7F-1711781E68A9}"/>
              </a:ext>
            </a:extLst>
          </p:cNvPr>
          <p:cNvSpPr>
            <a:spLocks noGrp="1"/>
          </p:cNvSpPr>
          <p:nvPr>
            <p:ph sz="quarter" idx="18" hasCustomPrompt="1"/>
          </p:nvPr>
        </p:nvSpPr>
        <p:spPr>
          <a:xfrm>
            <a:off x="5211051" y="1203629"/>
            <a:ext cx="4178464" cy="5091326"/>
          </a:xfrm>
          <a:prstGeom prst="rect">
            <a:avLst/>
          </a:prstGeom>
        </p:spPr>
        <p:txBody>
          <a:bodyPr wrap="square" lIns="0" tIns="216000" rIns="0" bIns="0"/>
          <a:lstStyle>
            <a:lvl1pPr marL="0" indent="0">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p:txBody>
      </p:sp>
      <p:sp>
        <p:nvSpPr>
          <p:cNvPr id="10" name="Text Placeholder 6">
            <a:extLst>
              <a:ext uri="{FF2B5EF4-FFF2-40B4-BE49-F238E27FC236}">
                <a16:creationId xmlns:a16="http://schemas.microsoft.com/office/drawing/2014/main" xmlns="" id="{FA4679EA-4A15-4B5E-981E-6823210C63BF}"/>
              </a:ext>
            </a:extLst>
          </p:cNvPr>
          <p:cNvSpPr>
            <a:spLocks noGrp="1"/>
          </p:cNvSpPr>
          <p:nvPr>
            <p:ph type="body" sz="quarter" idx="17"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Tree>
    <p:extLst>
      <p:ext uri="{BB962C8B-B14F-4D97-AF65-F5344CB8AC3E}">
        <p14:creationId xmlns:p14="http://schemas.microsoft.com/office/powerpoint/2010/main" val="5049620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with Image (Reduced log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1203629"/>
            <a:ext cx="4178464" cy="5091326"/>
          </a:xfrm>
          <a:prstGeom prst="rect">
            <a:avLst/>
          </a:prstGeom>
        </p:spPr>
        <p:txBody>
          <a:bodyPr wrap="square" lIns="0" tIns="216000" rIns="0" bIns="0"/>
          <a:lstStyle>
            <a:lvl1pPr marL="0" indent="0">
              <a:buClr>
                <a:srgbClr val="966E32"/>
              </a:buClr>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a:p>
            <a:pPr marL="168501" lvl="0" indent="-168501">
              <a:buFont typeface="+mj-lt"/>
              <a:buAutoNum type="arabicPeriod"/>
            </a:pPr>
            <a:endParaRPr lang="en-US" dirty="0"/>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10" name="Rectangle 9">
            <a:extLst>
              <a:ext uri="{FF2B5EF4-FFF2-40B4-BE49-F238E27FC236}">
                <a16:creationId xmlns:a16="http://schemas.microsoft.com/office/drawing/2014/main" xmlns="" id="{2DD67B9F-B135-4DE5-9FC4-16E08B548F35}"/>
              </a:ext>
            </a:extLst>
          </p:cNvPr>
          <p:cNvSpPr/>
          <p:nvPr userDrawn="1"/>
        </p:nvSpPr>
        <p:spPr>
          <a:xfrm>
            <a:off x="8737578" y="5882729"/>
            <a:ext cx="726292" cy="412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7"/>
          </a:p>
        </p:txBody>
      </p:sp>
      <p:sp>
        <p:nvSpPr>
          <p:cNvPr id="13" name="Text Placeholder 6">
            <a:extLst>
              <a:ext uri="{FF2B5EF4-FFF2-40B4-BE49-F238E27FC236}">
                <a16:creationId xmlns:a16="http://schemas.microsoft.com/office/drawing/2014/main" xmlns="" id="{30E307D3-7A0B-4F0F-8FD9-5B0DBFE31DC1}"/>
              </a:ext>
            </a:extLst>
          </p:cNvPr>
          <p:cNvSpPr>
            <a:spLocks noGrp="1"/>
          </p:cNvSpPr>
          <p:nvPr>
            <p:ph type="body" sz="quarter" idx="18"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15" name="Text Placeholder 3">
            <a:extLst>
              <a:ext uri="{FF2B5EF4-FFF2-40B4-BE49-F238E27FC236}">
                <a16:creationId xmlns:a16="http://schemas.microsoft.com/office/drawing/2014/main" xmlns="" id="{96CC3408-B3F9-437F-A1BA-EFDC2A00C7C0}"/>
              </a:ext>
            </a:extLst>
          </p:cNvPr>
          <p:cNvSpPr>
            <a:spLocks noGrp="1"/>
          </p:cNvSpPr>
          <p:nvPr>
            <p:ph type="body" sz="quarter" idx="20" hasCustomPrompt="1"/>
          </p:nvPr>
        </p:nvSpPr>
        <p:spPr>
          <a:xfrm>
            <a:off x="5211131" y="1203628"/>
            <a:ext cx="4178310" cy="555195"/>
          </a:xfrm>
          <a:prstGeom prst="rect">
            <a:avLst/>
          </a:prstGeom>
        </p:spPr>
        <p:txBody>
          <a:bodyPr lIns="0" tIns="0" rIns="0" bIns="0" anchor="ctr" anchorCtr="0"/>
          <a:lstStyle>
            <a:lvl1pPr algn="ctr">
              <a:defRPr>
                <a:solidFill>
                  <a:srgbClr val="966E32"/>
                </a:solidFill>
                <a:latin typeface="Gill Sans MT Std Medium" panose="020B0602020104020203" pitchFamily="34" charset="0"/>
              </a:defRPr>
            </a:lvl1pPr>
          </a:lstStyle>
          <a:p>
            <a:pPr lvl="0"/>
            <a:r>
              <a:rPr lang="en-US" dirty="0"/>
              <a:t>Image Title</a:t>
            </a:r>
            <a:endParaRPr lang="en-GB" dirty="0"/>
          </a:p>
        </p:txBody>
      </p:sp>
      <p:sp>
        <p:nvSpPr>
          <p:cNvPr id="12" name="Picture Placeholder 4">
            <a:extLst>
              <a:ext uri="{FF2B5EF4-FFF2-40B4-BE49-F238E27FC236}">
                <a16:creationId xmlns:a16="http://schemas.microsoft.com/office/drawing/2014/main" xmlns="" id="{FDDBB087-4BFD-4B15-B36C-E95C3A019EFD}"/>
              </a:ext>
            </a:extLst>
          </p:cNvPr>
          <p:cNvSpPr>
            <a:spLocks noGrp="1"/>
          </p:cNvSpPr>
          <p:nvPr>
            <p:ph type="pic" sz="quarter" idx="17"/>
          </p:nvPr>
        </p:nvSpPr>
        <p:spPr>
          <a:xfrm>
            <a:off x="5211279" y="1758825"/>
            <a:ext cx="4178310" cy="4536079"/>
          </a:xfrm>
          <a:prstGeom prst="rect">
            <a:avLst/>
          </a:prstGeom>
        </p:spPr>
        <p:txBody>
          <a:bodyPr lIns="0" tIns="0" rIns="0" bIns="0"/>
          <a:lstStyle>
            <a:lvl1pPr algn="ctr">
              <a:defRPr lang="en-GB" sz="885" kern="1200" dirty="0">
                <a:solidFill>
                  <a:srgbClr val="404040"/>
                </a:solidFill>
                <a:latin typeface="Garamond" panose="02020404030301010803" pitchFamily="18" charset="0"/>
                <a:ea typeface="+mn-ea"/>
                <a:cs typeface="Arial" charset="0"/>
              </a:defRPr>
            </a:lvl1pPr>
          </a:lstStyle>
          <a:p>
            <a:endParaRPr lang="en-GB" dirty="0"/>
          </a:p>
        </p:txBody>
      </p:sp>
    </p:spTree>
    <p:extLst>
      <p:ext uri="{BB962C8B-B14F-4D97-AF65-F5344CB8AC3E}">
        <p14:creationId xmlns:p14="http://schemas.microsoft.com/office/powerpoint/2010/main" val="51916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Image (Reduced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F495542-3332-4636-96A4-E1FEF015E1B3}"/>
              </a:ext>
            </a:extLst>
          </p:cNvPr>
          <p:cNvSpPr/>
          <p:nvPr userDrawn="1"/>
        </p:nvSpPr>
        <p:spPr>
          <a:xfrm>
            <a:off x="8737578" y="5882729"/>
            <a:ext cx="726292" cy="412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7"/>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12" name="Picture Placeholder 4">
            <a:extLst>
              <a:ext uri="{FF2B5EF4-FFF2-40B4-BE49-F238E27FC236}">
                <a16:creationId xmlns:a16="http://schemas.microsoft.com/office/drawing/2014/main" xmlns="" id="{FDDBB087-4BFD-4B15-B36C-E95C3A019EFD}"/>
              </a:ext>
            </a:extLst>
          </p:cNvPr>
          <p:cNvSpPr>
            <a:spLocks noGrp="1"/>
          </p:cNvSpPr>
          <p:nvPr>
            <p:ph type="pic" sz="quarter" idx="17"/>
          </p:nvPr>
        </p:nvSpPr>
        <p:spPr>
          <a:xfrm>
            <a:off x="516258" y="1793101"/>
            <a:ext cx="8873332" cy="4501804"/>
          </a:xfrm>
          <a:prstGeom prst="rect">
            <a:avLst/>
          </a:prstGeom>
        </p:spPr>
        <p:txBody>
          <a:bodyPr lIns="0" tIns="0" rIns="0" bIns="0" anchor="t"/>
          <a:lstStyle>
            <a:lvl1pPr algn="ctr">
              <a:defRPr lang="en-GB" sz="885" kern="1200" dirty="0">
                <a:solidFill>
                  <a:srgbClr val="404040"/>
                </a:solidFill>
                <a:latin typeface="Garamond" panose="02020404030301010803" pitchFamily="18" charset="0"/>
                <a:ea typeface="+mn-ea"/>
                <a:cs typeface="Arial" charset="0"/>
              </a:defRPr>
            </a:lvl1pPr>
          </a:lstStyle>
          <a:p>
            <a:endParaRPr lang="en-GB" dirty="0"/>
          </a:p>
        </p:txBody>
      </p:sp>
      <p:sp>
        <p:nvSpPr>
          <p:cNvPr id="7" name="Text Placeholder 6">
            <a:extLst>
              <a:ext uri="{FF2B5EF4-FFF2-40B4-BE49-F238E27FC236}">
                <a16:creationId xmlns:a16="http://schemas.microsoft.com/office/drawing/2014/main" xmlns="" id="{23B2FD51-06D0-458B-A816-F472FDB77CC0}"/>
              </a:ext>
            </a:extLst>
          </p:cNvPr>
          <p:cNvSpPr>
            <a:spLocks noGrp="1"/>
          </p:cNvSpPr>
          <p:nvPr>
            <p:ph type="body" sz="quarter" idx="18"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8" name="Text Placeholder 3">
            <a:extLst>
              <a:ext uri="{FF2B5EF4-FFF2-40B4-BE49-F238E27FC236}">
                <a16:creationId xmlns:a16="http://schemas.microsoft.com/office/drawing/2014/main" xmlns="" id="{5BD8FD3B-7A9A-4DAA-8940-E99BC7B858E6}"/>
              </a:ext>
            </a:extLst>
          </p:cNvPr>
          <p:cNvSpPr>
            <a:spLocks noGrp="1"/>
          </p:cNvSpPr>
          <p:nvPr>
            <p:ph type="body" sz="quarter" idx="20" hasCustomPrompt="1"/>
          </p:nvPr>
        </p:nvSpPr>
        <p:spPr>
          <a:xfrm>
            <a:off x="516110" y="1237904"/>
            <a:ext cx="8873332" cy="555195"/>
          </a:xfrm>
          <a:prstGeom prst="rect">
            <a:avLst/>
          </a:prstGeom>
        </p:spPr>
        <p:txBody>
          <a:bodyPr lIns="0" tIns="0" rIns="0" bIns="0" anchor="ctr" anchorCtr="0"/>
          <a:lstStyle>
            <a:lvl1pPr algn="ctr">
              <a:defRPr>
                <a:solidFill>
                  <a:srgbClr val="966E32"/>
                </a:solidFill>
                <a:latin typeface="Gill Sans MT Std Medium" panose="020B0602020104020203" pitchFamily="34" charset="0"/>
              </a:defRPr>
            </a:lvl1pPr>
          </a:lstStyle>
          <a:p>
            <a:pPr lvl="0"/>
            <a:r>
              <a:rPr lang="en-US" dirty="0"/>
              <a:t>Image Title</a:t>
            </a:r>
            <a:endParaRPr lang="en-GB" dirty="0"/>
          </a:p>
        </p:txBody>
      </p:sp>
    </p:spTree>
    <p:extLst>
      <p:ext uri="{BB962C8B-B14F-4D97-AF65-F5344CB8AC3E}">
        <p14:creationId xmlns:p14="http://schemas.microsoft.com/office/powerpoint/2010/main" val="660169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6" name="Text Placeholder 6">
            <a:extLst>
              <a:ext uri="{FF2B5EF4-FFF2-40B4-BE49-F238E27FC236}">
                <a16:creationId xmlns:a16="http://schemas.microsoft.com/office/drawing/2014/main" xmlns="" id="{A71700E1-655C-48B6-9F33-12652233A6E7}"/>
              </a:ext>
            </a:extLst>
          </p:cNvPr>
          <p:cNvSpPr>
            <a:spLocks noGrp="1"/>
          </p:cNvSpPr>
          <p:nvPr>
            <p:ph type="body" sz="quarter" idx="17"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Tree>
    <p:extLst>
      <p:ext uri="{BB962C8B-B14F-4D97-AF65-F5344CB8AC3E}">
        <p14:creationId xmlns:p14="http://schemas.microsoft.com/office/powerpoint/2010/main" val="11615204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Reduced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12" name="Text Placeholder 6">
            <a:extLst>
              <a:ext uri="{FF2B5EF4-FFF2-40B4-BE49-F238E27FC236}">
                <a16:creationId xmlns:a16="http://schemas.microsoft.com/office/drawing/2014/main" xmlns="" id="{D3FE1C1B-6870-4D1E-AB01-64C7012D7119}"/>
              </a:ext>
            </a:extLst>
          </p:cNvPr>
          <p:cNvSpPr>
            <a:spLocks noGrp="1"/>
          </p:cNvSpPr>
          <p:nvPr>
            <p:ph type="body" sz="quarter" idx="17"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7" name="Rectangle 6">
            <a:extLst>
              <a:ext uri="{FF2B5EF4-FFF2-40B4-BE49-F238E27FC236}">
                <a16:creationId xmlns:a16="http://schemas.microsoft.com/office/drawing/2014/main" xmlns="" id="{4DAB2525-638D-4051-A833-2AF425031347}"/>
              </a:ext>
            </a:extLst>
          </p:cNvPr>
          <p:cNvSpPr/>
          <p:nvPr userDrawn="1"/>
        </p:nvSpPr>
        <p:spPr>
          <a:xfrm>
            <a:off x="8737578" y="5882729"/>
            <a:ext cx="726292" cy="412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7"/>
          </a:p>
        </p:txBody>
      </p:sp>
    </p:spTree>
    <p:extLst>
      <p:ext uri="{BB962C8B-B14F-4D97-AF65-F5344CB8AC3E}">
        <p14:creationId xmlns:p14="http://schemas.microsoft.com/office/powerpoint/2010/main" val="3870100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Brea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5587224"/>
          </a:xfrm>
          <a:prstGeom prst="rect">
            <a:avLst/>
          </a:prstGeom>
        </p:spPr>
        <p:txBody>
          <a:bodyPr anchor="ctr"/>
          <a:lstStyle>
            <a:lvl1pPr marL="0" algn="ctr"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Chapter Title</a:t>
            </a:r>
            <a:endParaRPr lang="en-GB" dirty="0"/>
          </a:p>
        </p:txBody>
      </p:sp>
    </p:spTree>
    <p:extLst>
      <p:ext uri="{BB962C8B-B14F-4D97-AF65-F5344CB8AC3E}">
        <p14:creationId xmlns:p14="http://schemas.microsoft.com/office/powerpoint/2010/main" val="23188552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080095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57579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760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573637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pic>
        <p:nvPicPr>
          <p:cNvPr id="81" name="Picture 80">
            <a:extLst>
              <a:ext uri="{FF2B5EF4-FFF2-40B4-BE49-F238E27FC236}">
                <a16:creationId xmlns:a16="http://schemas.microsoft.com/office/drawing/2014/main" xmlns="" id="{2396525F-3782-478B-AAA5-F5F283584E5E}"/>
              </a:ext>
            </a:extLst>
          </p:cNvPr>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697022" y="5854091"/>
            <a:ext cx="1070596" cy="827845"/>
          </a:xfrm>
          <a:prstGeom prst="rect">
            <a:avLst/>
          </a:prstGeom>
        </p:spPr>
      </p:pic>
      <p:sp>
        <p:nvSpPr>
          <p:cNvPr id="14" name="TextBox 13">
            <a:extLst>
              <a:ext uri="{FF2B5EF4-FFF2-40B4-BE49-F238E27FC236}">
                <a16:creationId xmlns:a16="http://schemas.microsoft.com/office/drawing/2014/main" xmlns="" id="{2E71EA3C-722A-48AF-B1F7-17076240E7E0}"/>
              </a:ext>
            </a:extLst>
          </p:cNvPr>
          <p:cNvSpPr txBox="1"/>
          <p:nvPr userDrawn="1"/>
        </p:nvSpPr>
        <p:spPr>
          <a:xfrm>
            <a:off x="493791" y="429138"/>
            <a:ext cx="8929629" cy="586340"/>
          </a:xfrm>
          <a:prstGeom prst="rect">
            <a:avLst/>
          </a:prstGeom>
          <a:noFill/>
        </p:spPr>
        <p:txBody>
          <a:bodyPr wrap="square" lIns="0" tIns="0" rIns="0" bIns="0" rtlCol="0">
            <a:noAutofit/>
          </a:bodyPr>
          <a:lstStyle/>
          <a:p>
            <a:r>
              <a:rPr lang="en-GB" sz="2359" dirty="0">
                <a:solidFill>
                  <a:schemeClr val="tx2"/>
                </a:solidFill>
                <a:latin typeface="Gill Sans Std Light" panose="020B0302020104020203" pitchFamily="34" charset="0"/>
                <a:cs typeface="Arial" panose="020B0604020202020204" pitchFamily="34" charset="0"/>
              </a:rPr>
              <a:t>Contents</a:t>
            </a:r>
          </a:p>
        </p:txBody>
      </p:sp>
      <p:sp>
        <p:nvSpPr>
          <p:cNvPr id="16" name="TextBox 6">
            <a:extLst>
              <a:ext uri="{FF2B5EF4-FFF2-40B4-BE49-F238E27FC236}">
                <a16:creationId xmlns:a16="http://schemas.microsoft.com/office/drawing/2014/main" xmlns="" id="{618CD861-7C15-4906-BBFF-6228E61E4EF7}"/>
              </a:ext>
            </a:extLst>
          </p:cNvPr>
          <p:cNvSpPr txBox="1">
            <a:spLocks noChangeArrowheads="1"/>
          </p:cNvSpPr>
          <p:nvPr userDrawn="1"/>
        </p:nvSpPr>
        <p:spPr bwMode="auto">
          <a:xfrm>
            <a:off x="219075" y="6481837"/>
            <a:ext cx="3603625" cy="182101"/>
          </a:xfrm>
          <a:prstGeom prst="rect">
            <a:avLst/>
          </a:prstGeom>
          <a:noFill/>
          <a:ln w="9525">
            <a:noFill/>
            <a:miter lim="800000"/>
            <a:headEnd/>
            <a:tailEnd/>
          </a:ln>
        </p:spPr>
        <p:txBody>
          <a:bodyPr>
            <a:spAutoFit/>
          </a:bodyPr>
          <a:lstStyle/>
          <a:p>
            <a:pPr marL="0" algn="l" defTabSz="674004" rtl="0" eaLnBrk="1" latinLnBrk="0" hangingPunct="1">
              <a:lnSpc>
                <a:spcPts val="737"/>
              </a:lnSpc>
              <a:tabLst/>
            </a:pPr>
            <a:r>
              <a:rPr lang="en-US" altLang="zh-CN" sz="590" kern="1200" dirty="0">
                <a:solidFill>
                  <a:schemeClr val="bg1">
                    <a:lumMod val="65000"/>
                  </a:schemeClr>
                </a:solidFill>
                <a:latin typeface="Gill Sans Std Light" pitchFamily="34" charset="0"/>
                <a:ea typeface="+mn-ea"/>
                <a:cs typeface="Garamond" pitchFamily="18" charset="0"/>
              </a:rPr>
              <a:t>This document is strictly private and confidential</a:t>
            </a:r>
          </a:p>
        </p:txBody>
      </p:sp>
    </p:spTree>
    <p:extLst>
      <p:ext uri="{BB962C8B-B14F-4D97-AF65-F5344CB8AC3E}">
        <p14:creationId xmlns:p14="http://schemas.microsoft.com/office/powerpoint/2010/main" val="3714040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329"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058034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782820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8695362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9068575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551299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861402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6337673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ver A">
    <p:spTree>
      <p:nvGrpSpPr>
        <p:cNvPr id="1" name=""/>
        <p:cNvGrpSpPr/>
        <p:nvPr/>
      </p:nvGrpSpPr>
      <p:grpSpPr>
        <a:xfrm>
          <a:off x="0" y="0"/>
          <a:ext cx="0" cy="0"/>
          <a:chOff x="0" y="0"/>
          <a:chExt cx="0" cy="0"/>
        </a:xfrm>
      </p:grpSpPr>
      <p:pic>
        <p:nvPicPr>
          <p:cNvPr id="87" name="Picture 86">
            <a:extLst>
              <a:ext uri="{FF2B5EF4-FFF2-40B4-BE49-F238E27FC236}">
                <a16:creationId xmlns:a16="http://schemas.microsoft.com/office/drawing/2014/main" xmlns="" id="{902DC62D-919D-4E27-BD57-C8FB3F41E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32882" y="317771"/>
            <a:ext cx="2796354" cy="1701247"/>
          </a:xfrm>
          <a:prstGeom prst="rect">
            <a:avLst/>
          </a:prstGeom>
        </p:spPr>
      </p:pic>
      <p:pic>
        <p:nvPicPr>
          <p:cNvPr id="4" name="Picture 3">
            <a:extLst>
              <a:ext uri="{FF2B5EF4-FFF2-40B4-BE49-F238E27FC236}">
                <a16:creationId xmlns:a16="http://schemas.microsoft.com/office/drawing/2014/main" xmlns="" id="{A99F9F75-9C79-4A00-8855-3256512CFDF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3" y="2361358"/>
            <a:ext cx="9905997" cy="2587985"/>
          </a:xfrm>
          <a:prstGeom prst="rect">
            <a:avLst/>
          </a:prstGeom>
        </p:spPr>
      </p:pic>
      <p:cxnSp>
        <p:nvCxnSpPr>
          <p:cNvPr id="5" name="Straight Connector 4">
            <a:extLst>
              <a:ext uri="{FF2B5EF4-FFF2-40B4-BE49-F238E27FC236}">
                <a16:creationId xmlns:a16="http://schemas.microsoft.com/office/drawing/2014/main" xmlns="" id="{4984A953-195D-4EC4-9EB7-EB31C2C1C627}"/>
              </a:ext>
            </a:extLst>
          </p:cNvPr>
          <p:cNvCxnSpPr/>
          <p:nvPr userDrawn="1"/>
        </p:nvCxnSpPr>
        <p:spPr>
          <a:xfrm>
            <a:off x="0" y="2352101"/>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
        <p:nvSpPr>
          <p:cNvPr id="27" name="Text Placeholder 11">
            <a:extLst>
              <a:ext uri="{FF2B5EF4-FFF2-40B4-BE49-F238E27FC236}">
                <a16:creationId xmlns:a16="http://schemas.microsoft.com/office/drawing/2014/main" xmlns="" id="{97506CC7-480B-42F3-9581-8B7EB4572805}"/>
              </a:ext>
            </a:extLst>
          </p:cNvPr>
          <p:cNvSpPr>
            <a:spLocks noGrp="1"/>
          </p:cNvSpPr>
          <p:nvPr>
            <p:ph type="body" sz="quarter" idx="10"/>
          </p:nvPr>
        </p:nvSpPr>
        <p:spPr>
          <a:xfrm>
            <a:off x="1" y="5483281"/>
            <a:ext cx="9906000" cy="329794"/>
          </a:xfrm>
          <a:prstGeom prst="rect">
            <a:avLst/>
          </a:prstGeom>
        </p:spPr>
        <p:txBody>
          <a:bodyPr/>
          <a:lstStyle>
            <a:lvl1pPr algn="ctr">
              <a:buNone/>
              <a:defRPr lang="en-US" sz="1769" kern="1200" dirty="0" smtClean="0">
                <a:solidFill>
                  <a:srgbClr val="966E32"/>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Click to edit Master text styles</a:t>
            </a:r>
            <a:endParaRPr lang="en-GB" dirty="0"/>
          </a:p>
        </p:txBody>
      </p:sp>
      <p:sp>
        <p:nvSpPr>
          <p:cNvPr id="29" name="Text Placeholder 11">
            <a:extLst>
              <a:ext uri="{FF2B5EF4-FFF2-40B4-BE49-F238E27FC236}">
                <a16:creationId xmlns:a16="http://schemas.microsoft.com/office/drawing/2014/main" xmlns="" id="{F8F87EB0-C7FD-4B76-BB2B-AA5737A45BDE}"/>
              </a:ext>
            </a:extLst>
          </p:cNvPr>
          <p:cNvSpPr>
            <a:spLocks noGrp="1"/>
          </p:cNvSpPr>
          <p:nvPr>
            <p:ph type="body" sz="quarter" idx="11" hasCustomPrompt="1"/>
          </p:nvPr>
        </p:nvSpPr>
        <p:spPr>
          <a:xfrm>
            <a:off x="1" y="5846858"/>
            <a:ext cx="9906000" cy="329794"/>
          </a:xfrm>
          <a:prstGeom prst="rect">
            <a:avLst/>
          </a:prstGeom>
        </p:spPr>
        <p:txBody>
          <a:bodyPr/>
          <a:lstStyle>
            <a:lvl1pPr algn="ctr">
              <a:buNone/>
              <a:defRPr lang="en-GB" sz="1622" kern="1200" dirty="0">
                <a:solidFill>
                  <a:srgbClr val="404040"/>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Subtitle</a:t>
            </a:r>
            <a:endParaRPr lang="en-GB" dirty="0"/>
          </a:p>
        </p:txBody>
      </p:sp>
      <p:sp>
        <p:nvSpPr>
          <p:cNvPr id="31" name="Text Placeholder 11">
            <a:extLst>
              <a:ext uri="{FF2B5EF4-FFF2-40B4-BE49-F238E27FC236}">
                <a16:creationId xmlns:a16="http://schemas.microsoft.com/office/drawing/2014/main" xmlns="" id="{35CEB194-0C8E-4D93-84AB-C53CDC5084B2}"/>
              </a:ext>
            </a:extLst>
          </p:cNvPr>
          <p:cNvSpPr>
            <a:spLocks noGrp="1"/>
          </p:cNvSpPr>
          <p:nvPr>
            <p:ph type="body" sz="quarter" idx="12" hasCustomPrompt="1"/>
          </p:nvPr>
        </p:nvSpPr>
        <p:spPr>
          <a:xfrm>
            <a:off x="1" y="6394530"/>
            <a:ext cx="9906000" cy="329794"/>
          </a:xfrm>
          <a:prstGeom prst="rect">
            <a:avLst/>
          </a:prstGeom>
        </p:spPr>
        <p:txBody>
          <a:bodyPr/>
          <a:lstStyle>
            <a:lvl1pPr algn="ctr">
              <a:buNone/>
              <a:defRPr lang="en-GB" sz="1032" kern="1200" dirty="0">
                <a:solidFill>
                  <a:srgbClr val="404040"/>
                </a:solidFill>
                <a:latin typeface="Gill Sans MT Std Light" panose="020B030202010409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r>
              <a:rPr lang="en-GB" dirty="0"/>
              <a:t>Month 2021</a:t>
            </a:r>
          </a:p>
        </p:txBody>
      </p:sp>
      <p:cxnSp>
        <p:nvCxnSpPr>
          <p:cNvPr id="86" name="Straight Connector 85">
            <a:extLst>
              <a:ext uri="{FF2B5EF4-FFF2-40B4-BE49-F238E27FC236}">
                <a16:creationId xmlns:a16="http://schemas.microsoft.com/office/drawing/2014/main" xmlns="" id="{2578814E-B009-471D-B805-974A3A74B59D}"/>
              </a:ext>
            </a:extLst>
          </p:cNvPr>
          <p:cNvCxnSpPr/>
          <p:nvPr userDrawn="1"/>
        </p:nvCxnSpPr>
        <p:spPr>
          <a:xfrm>
            <a:off x="0" y="4959250"/>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7916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pic>
        <p:nvPicPr>
          <p:cNvPr id="87" name="Picture 86">
            <a:extLst>
              <a:ext uri="{FF2B5EF4-FFF2-40B4-BE49-F238E27FC236}">
                <a16:creationId xmlns:a16="http://schemas.microsoft.com/office/drawing/2014/main" xmlns="" id="{BD372E95-4997-43A0-8F4E-B8C7DE245A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32882" y="317771"/>
            <a:ext cx="2796354" cy="1701247"/>
          </a:xfrm>
          <a:prstGeom prst="rect">
            <a:avLst/>
          </a:prstGeom>
        </p:spPr>
      </p:pic>
      <p:pic>
        <p:nvPicPr>
          <p:cNvPr id="4" name="Picture 3">
            <a:extLst>
              <a:ext uri="{FF2B5EF4-FFF2-40B4-BE49-F238E27FC236}">
                <a16:creationId xmlns:a16="http://schemas.microsoft.com/office/drawing/2014/main" xmlns="" id="{A99F9F75-9C79-4A00-8855-3256512CFDF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5" y="2361358"/>
            <a:ext cx="9905993" cy="2587985"/>
          </a:xfrm>
          <a:prstGeom prst="rect">
            <a:avLst/>
          </a:prstGeom>
        </p:spPr>
      </p:pic>
      <p:cxnSp>
        <p:nvCxnSpPr>
          <p:cNvPr id="5" name="Straight Connector 4">
            <a:extLst>
              <a:ext uri="{FF2B5EF4-FFF2-40B4-BE49-F238E27FC236}">
                <a16:creationId xmlns:a16="http://schemas.microsoft.com/office/drawing/2014/main" xmlns="" id="{4984A953-195D-4EC4-9EB7-EB31C2C1C627}"/>
              </a:ext>
            </a:extLst>
          </p:cNvPr>
          <p:cNvCxnSpPr/>
          <p:nvPr userDrawn="1"/>
        </p:nvCxnSpPr>
        <p:spPr>
          <a:xfrm>
            <a:off x="0" y="2352101"/>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
        <p:nvSpPr>
          <p:cNvPr id="27" name="Text Placeholder 11">
            <a:extLst>
              <a:ext uri="{FF2B5EF4-FFF2-40B4-BE49-F238E27FC236}">
                <a16:creationId xmlns:a16="http://schemas.microsoft.com/office/drawing/2014/main" xmlns="" id="{97506CC7-480B-42F3-9581-8B7EB4572805}"/>
              </a:ext>
            </a:extLst>
          </p:cNvPr>
          <p:cNvSpPr>
            <a:spLocks noGrp="1"/>
          </p:cNvSpPr>
          <p:nvPr>
            <p:ph type="body" sz="quarter" idx="10"/>
          </p:nvPr>
        </p:nvSpPr>
        <p:spPr>
          <a:xfrm>
            <a:off x="1" y="5483281"/>
            <a:ext cx="9906000" cy="329794"/>
          </a:xfrm>
          <a:prstGeom prst="rect">
            <a:avLst/>
          </a:prstGeom>
        </p:spPr>
        <p:txBody>
          <a:bodyPr/>
          <a:lstStyle>
            <a:lvl1pPr algn="ctr">
              <a:buNone/>
              <a:defRPr lang="en-US" sz="1769" kern="1200" dirty="0" smtClean="0">
                <a:solidFill>
                  <a:srgbClr val="966E32"/>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Click to edit Master text styles</a:t>
            </a:r>
            <a:endParaRPr lang="en-GB" dirty="0"/>
          </a:p>
        </p:txBody>
      </p:sp>
      <p:sp>
        <p:nvSpPr>
          <p:cNvPr id="29" name="Text Placeholder 11">
            <a:extLst>
              <a:ext uri="{FF2B5EF4-FFF2-40B4-BE49-F238E27FC236}">
                <a16:creationId xmlns:a16="http://schemas.microsoft.com/office/drawing/2014/main" xmlns="" id="{F8F87EB0-C7FD-4B76-BB2B-AA5737A45BDE}"/>
              </a:ext>
            </a:extLst>
          </p:cNvPr>
          <p:cNvSpPr>
            <a:spLocks noGrp="1"/>
          </p:cNvSpPr>
          <p:nvPr>
            <p:ph type="body" sz="quarter" idx="11" hasCustomPrompt="1"/>
          </p:nvPr>
        </p:nvSpPr>
        <p:spPr>
          <a:xfrm>
            <a:off x="1" y="5846858"/>
            <a:ext cx="9906000" cy="329794"/>
          </a:xfrm>
          <a:prstGeom prst="rect">
            <a:avLst/>
          </a:prstGeom>
        </p:spPr>
        <p:txBody>
          <a:bodyPr/>
          <a:lstStyle>
            <a:lvl1pPr algn="ctr">
              <a:buNone/>
              <a:defRPr lang="en-GB" sz="1622" kern="1200" dirty="0">
                <a:solidFill>
                  <a:srgbClr val="404040"/>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Subtitle</a:t>
            </a:r>
            <a:endParaRPr lang="en-GB" dirty="0"/>
          </a:p>
        </p:txBody>
      </p:sp>
      <p:sp>
        <p:nvSpPr>
          <p:cNvPr id="31" name="Text Placeholder 11">
            <a:extLst>
              <a:ext uri="{FF2B5EF4-FFF2-40B4-BE49-F238E27FC236}">
                <a16:creationId xmlns:a16="http://schemas.microsoft.com/office/drawing/2014/main" xmlns="" id="{35CEB194-0C8E-4D93-84AB-C53CDC5084B2}"/>
              </a:ext>
            </a:extLst>
          </p:cNvPr>
          <p:cNvSpPr>
            <a:spLocks noGrp="1"/>
          </p:cNvSpPr>
          <p:nvPr>
            <p:ph type="body" sz="quarter" idx="12" hasCustomPrompt="1"/>
          </p:nvPr>
        </p:nvSpPr>
        <p:spPr>
          <a:xfrm>
            <a:off x="1" y="6394530"/>
            <a:ext cx="9906000" cy="329794"/>
          </a:xfrm>
          <a:prstGeom prst="rect">
            <a:avLst/>
          </a:prstGeom>
        </p:spPr>
        <p:txBody>
          <a:bodyPr/>
          <a:lstStyle>
            <a:lvl1pPr algn="ctr">
              <a:buNone/>
              <a:defRPr lang="en-GB" sz="1032" kern="1200" dirty="0">
                <a:solidFill>
                  <a:srgbClr val="404040"/>
                </a:solidFill>
                <a:latin typeface="Gill Sans MT Std Light" panose="020B030202010409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r>
              <a:rPr lang="en-GB" dirty="0"/>
              <a:t>Month 2021</a:t>
            </a:r>
          </a:p>
        </p:txBody>
      </p:sp>
      <p:cxnSp>
        <p:nvCxnSpPr>
          <p:cNvPr id="86" name="Straight Connector 85">
            <a:extLst>
              <a:ext uri="{FF2B5EF4-FFF2-40B4-BE49-F238E27FC236}">
                <a16:creationId xmlns:a16="http://schemas.microsoft.com/office/drawing/2014/main" xmlns="" id="{CF1A5637-52B0-4870-86E7-4D365AD8CB28}"/>
              </a:ext>
            </a:extLst>
          </p:cNvPr>
          <p:cNvCxnSpPr/>
          <p:nvPr userDrawn="1"/>
        </p:nvCxnSpPr>
        <p:spPr>
          <a:xfrm>
            <a:off x="0" y="4959250"/>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65139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6B05C175-754E-4405-B97F-7ED5C2AD27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32882" y="317771"/>
            <a:ext cx="2796354" cy="1701247"/>
          </a:xfrm>
          <a:prstGeom prst="rect">
            <a:avLst/>
          </a:prstGeom>
        </p:spPr>
      </p:pic>
      <p:pic>
        <p:nvPicPr>
          <p:cNvPr id="4" name="Picture 3">
            <a:extLst>
              <a:ext uri="{FF2B5EF4-FFF2-40B4-BE49-F238E27FC236}">
                <a16:creationId xmlns:a16="http://schemas.microsoft.com/office/drawing/2014/main" xmlns="" id="{A99F9F75-9C79-4A00-8855-3256512CFDF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 y="2361359"/>
            <a:ext cx="9905990" cy="2587984"/>
          </a:xfrm>
          <a:prstGeom prst="rect">
            <a:avLst/>
          </a:prstGeom>
        </p:spPr>
      </p:pic>
      <p:cxnSp>
        <p:nvCxnSpPr>
          <p:cNvPr id="5" name="Straight Connector 4">
            <a:extLst>
              <a:ext uri="{FF2B5EF4-FFF2-40B4-BE49-F238E27FC236}">
                <a16:creationId xmlns:a16="http://schemas.microsoft.com/office/drawing/2014/main" xmlns="" id="{4984A953-195D-4EC4-9EB7-EB31C2C1C627}"/>
              </a:ext>
            </a:extLst>
          </p:cNvPr>
          <p:cNvCxnSpPr/>
          <p:nvPr userDrawn="1"/>
        </p:nvCxnSpPr>
        <p:spPr>
          <a:xfrm>
            <a:off x="0" y="2352101"/>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
        <p:nvSpPr>
          <p:cNvPr id="27" name="Text Placeholder 11">
            <a:extLst>
              <a:ext uri="{FF2B5EF4-FFF2-40B4-BE49-F238E27FC236}">
                <a16:creationId xmlns:a16="http://schemas.microsoft.com/office/drawing/2014/main" xmlns="" id="{97506CC7-480B-42F3-9581-8B7EB4572805}"/>
              </a:ext>
            </a:extLst>
          </p:cNvPr>
          <p:cNvSpPr>
            <a:spLocks noGrp="1"/>
          </p:cNvSpPr>
          <p:nvPr>
            <p:ph type="body" sz="quarter" idx="10"/>
          </p:nvPr>
        </p:nvSpPr>
        <p:spPr>
          <a:xfrm>
            <a:off x="1" y="5483281"/>
            <a:ext cx="9906000" cy="329794"/>
          </a:xfrm>
          <a:prstGeom prst="rect">
            <a:avLst/>
          </a:prstGeom>
        </p:spPr>
        <p:txBody>
          <a:bodyPr/>
          <a:lstStyle>
            <a:lvl1pPr algn="ctr">
              <a:buNone/>
              <a:defRPr lang="en-US" sz="1769" kern="1200" dirty="0" smtClean="0">
                <a:solidFill>
                  <a:srgbClr val="966E32"/>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Click to edit Master text styles</a:t>
            </a:r>
            <a:endParaRPr lang="en-GB" dirty="0"/>
          </a:p>
        </p:txBody>
      </p:sp>
      <p:sp>
        <p:nvSpPr>
          <p:cNvPr id="29" name="Text Placeholder 11">
            <a:extLst>
              <a:ext uri="{FF2B5EF4-FFF2-40B4-BE49-F238E27FC236}">
                <a16:creationId xmlns:a16="http://schemas.microsoft.com/office/drawing/2014/main" xmlns="" id="{F8F87EB0-C7FD-4B76-BB2B-AA5737A45BDE}"/>
              </a:ext>
            </a:extLst>
          </p:cNvPr>
          <p:cNvSpPr>
            <a:spLocks noGrp="1"/>
          </p:cNvSpPr>
          <p:nvPr>
            <p:ph type="body" sz="quarter" idx="11" hasCustomPrompt="1"/>
          </p:nvPr>
        </p:nvSpPr>
        <p:spPr>
          <a:xfrm>
            <a:off x="1" y="5846858"/>
            <a:ext cx="9906000" cy="329794"/>
          </a:xfrm>
          <a:prstGeom prst="rect">
            <a:avLst/>
          </a:prstGeom>
        </p:spPr>
        <p:txBody>
          <a:bodyPr/>
          <a:lstStyle>
            <a:lvl1pPr algn="ctr">
              <a:buNone/>
              <a:defRPr lang="en-GB" sz="1622" kern="1200" dirty="0">
                <a:solidFill>
                  <a:srgbClr val="404040"/>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Subtitle</a:t>
            </a:r>
            <a:endParaRPr lang="en-GB" dirty="0"/>
          </a:p>
        </p:txBody>
      </p:sp>
      <p:sp>
        <p:nvSpPr>
          <p:cNvPr id="31" name="Text Placeholder 11">
            <a:extLst>
              <a:ext uri="{FF2B5EF4-FFF2-40B4-BE49-F238E27FC236}">
                <a16:creationId xmlns:a16="http://schemas.microsoft.com/office/drawing/2014/main" xmlns="" id="{35CEB194-0C8E-4D93-84AB-C53CDC5084B2}"/>
              </a:ext>
            </a:extLst>
          </p:cNvPr>
          <p:cNvSpPr>
            <a:spLocks noGrp="1"/>
          </p:cNvSpPr>
          <p:nvPr>
            <p:ph type="body" sz="quarter" idx="12" hasCustomPrompt="1"/>
          </p:nvPr>
        </p:nvSpPr>
        <p:spPr>
          <a:xfrm>
            <a:off x="1" y="6394530"/>
            <a:ext cx="9906000" cy="329794"/>
          </a:xfrm>
          <a:prstGeom prst="rect">
            <a:avLst/>
          </a:prstGeom>
        </p:spPr>
        <p:txBody>
          <a:bodyPr/>
          <a:lstStyle>
            <a:lvl1pPr algn="ctr">
              <a:buNone/>
              <a:defRPr lang="en-GB" sz="1032" kern="1200" dirty="0">
                <a:solidFill>
                  <a:srgbClr val="404040"/>
                </a:solidFill>
                <a:latin typeface="Gill Sans MT Std Light" panose="020B030202010409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r>
              <a:rPr lang="en-GB" dirty="0"/>
              <a:t>Month 2021</a:t>
            </a:r>
          </a:p>
        </p:txBody>
      </p:sp>
      <p:cxnSp>
        <p:nvCxnSpPr>
          <p:cNvPr id="86" name="Straight Connector 85">
            <a:extLst>
              <a:ext uri="{FF2B5EF4-FFF2-40B4-BE49-F238E27FC236}">
                <a16:creationId xmlns:a16="http://schemas.microsoft.com/office/drawing/2014/main" xmlns="" id="{6191D473-F8BE-41E5-A210-F62CE1932C03}"/>
              </a:ext>
            </a:extLst>
          </p:cNvPr>
          <p:cNvCxnSpPr/>
          <p:nvPr userDrawn="1"/>
        </p:nvCxnSpPr>
        <p:spPr>
          <a:xfrm>
            <a:off x="0" y="4959250"/>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152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xmlns="" id="{E0503C07-3BD0-4F7C-B8A3-9B9D0C43D20E}"/>
              </a:ext>
            </a:extLst>
          </p:cNvPr>
          <p:cNvSpPr txBox="1">
            <a:spLocks noChangeArrowheads="1"/>
          </p:cNvSpPr>
          <p:nvPr userDrawn="1"/>
        </p:nvSpPr>
        <p:spPr bwMode="auto">
          <a:xfrm>
            <a:off x="219075" y="6481837"/>
            <a:ext cx="3603625" cy="182101"/>
          </a:xfrm>
          <a:prstGeom prst="rect">
            <a:avLst/>
          </a:prstGeom>
          <a:noFill/>
          <a:ln w="9525">
            <a:noFill/>
            <a:miter lim="800000"/>
            <a:headEnd/>
            <a:tailEnd/>
          </a:ln>
        </p:spPr>
        <p:txBody>
          <a:bodyPr>
            <a:spAutoFit/>
          </a:bodyPr>
          <a:lstStyle/>
          <a:p>
            <a:pPr marL="0" algn="l" defTabSz="674004" rtl="0" eaLnBrk="1" latinLnBrk="0" hangingPunct="1">
              <a:lnSpc>
                <a:spcPts val="737"/>
              </a:lnSpc>
              <a:tabLst/>
            </a:pPr>
            <a:r>
              <a:rPr lang="en-US" altLang="zh-CN" sz="590" kern="1200" dirty="0">
                <a:solidFill>
                  <a:schemeClr val="bg1">
                    <a:lumMod val="65000"/>
                  </a:schemeClr>
                </a:solidFill>
                <a:latin typeface="Gill Sans Std Light" pitchFamily="34" charset="0"/>
                <a:ea typeface="+mn-ea"/>
                <a:cs typeface="Garamond" pitchFamily="18" charset="0"/>
              </a:rPr>
              <a:t>This document is strictly private and confidential</a:t>
            </a:r>
          </a:p>
        </p:txBody>
      </p:sp>
      <p:pic>
        <p:nvPicPr>
          <p:cNvPr id="4" name="Picture 3">
            <a:extLst>
              <a:ext uri="{FF2B5EF4-FFF2-40B4-BE49-F238E27FC236}">
                <a16:creationId xmlns:a16="http://schemas.microsoft.com/office/drawing/2014/main" xmlns="" id="{34DB2BD8-1CEE-4D55-8009-4D5D277C75C6}"/>
              </a:ext>
            </a:extLst>
          </p:cNvPr>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697022" y="5854091"/>
            <a:ext cx="1070596" cy="827845"/>
          </a:xfrm>
          <a:prstGeom prst="rect">
            <a:avLst/>
          </a:prstGeom>
        </p:spPr>
      </p:pic>
    </p:spTree>
    <p:extLst>
      <p:ext uri="{BB962C8B-B14F-4D97-AF65-F5344CB8AC3E}">
        <p14:creationId xmlns:p14="http://schemas.microsoft.com/office/powerpoint/2010/main" val="33622170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D">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xmlns="" id="{92D9290D-2F8E-4675-9197-1B6A0C6BBBE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32882" y="317771"/>
            <a:ext cx="2796354" cy="1701247"/>
          </a:xfrm>
          <a:prstGeom prst="rect">
            <a:avLst/>
          </a:prstGeom>
        </p:spPr>
      </p:pic>
      <p:pic>
        <p:nvPicPr>
          <p:cNvPr id="4" name="Picture 3">
            <a:extLst>
              <a:ext uri="{FF2B5EF4-FFF2-40B4-BE49-F238E27FC236}">
                <a16:creationId xmlns:a16="http://schemas.microsoft.com/office/drawing/2014/main" xmlns="" id="{A99F9F75-9C79-4A00-8855-3256512CFDF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6" y="2361359"/>
            <a:ext cx="9905990" cy="2587984"/>
          </a:xfrm>
          <a:prstGeom prst="rect">
            <a:avLst/>
          </a:prstGeom>
        </p:spPr>
      </p:pic>
      <p:cxnSp>
        <p:nvCxnSpPr>
          <p:cNvPr id="5" name="Straight Connector 4">
            <a:extLst>
              <a:ext uri="{FF2B5EF4-FFF2-40B4-BE49-F238E27FC236}">
                <a16:creationId xmlns:a16="http://schemas.microsoft.com/office/drawing/2014/main" xmlns="" id="{4984A953-195D-4EC4-9EB7-EB31C2C1C627}"/>
              </a:ext>
            </a:extLst>
          </p:cNvPr>
          <p:cNvCxnSpPr/>
          <p:nvPr userDrawn="1"/>
        </p:nvCxnSpPr>
        <p:spPr>
          <a:xfrm>
            <a:off x="0" y="2352101"/>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
        <p:nvSpPr>
          <p:cNvPr id="27" name="Text Placeholder 11">
            <a:extLst>
              <a:ext uri="{FF2B5EF4-FFF2-40B4-BE49-F238E27FC236}">
                <a16:creationId xmlns:a16="http://schemas.microsoft.com/office/drawing/2014/main" xmlns="" id="{97506CC7-480B-42F3-9581-8B7EB4572805}"/>
              </a:ext>
            </a:extLst>
          </p:cNvPr>
          <p:cNvSpPr>
            <a:spLocks noGrp="1"/>
          </p:cNvSpPr>
          <p:nvPr>
            <p:ph type="body" sz="quarter" idx="10"/>
          </p:nvPr>
        </p:nvSpPr>
        <p:spPr>
          <a:xfrm>
            <a:off x="1" y="5483281"/>
            <a:ext cx="9906000" cy="329794"/>
          </a:xfrm>
          <a:prstGeom prst="rect">
            <a:avLst/>
          </a:prstGeom>
        </p:spPr>
        <p:txBody>
          <a:bodyPr/>
          <a:lstStyle>
            <a:lvl1pPr algn="ctr">
              <a:buNone/>
              <a:defRPr lang="en-US" sz="1769" kern="1200" dirty="0" smtClean="0">
                <a:solidFill>
                  <a:srgbClr val="966E32"/>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Click to edit Master text styles</a:t>
            </a:r>
            <a:endParaRPr lang="en-GB" dirty="0"/>
          </a:p>
        </p:txBody>
      </p:sp>
      <p:sp>
        <p:nvSpPr>
          <p:cNvPr id="29" name="Text Placeholder 11">
            <a:extLst>
              <a:ext uri="{FF2B5EF4-FFF2-40B4-BE49-F238E27FC236}">
                <a16:creationId xmlns:a16="http://schemas.microsoft.com/office/drawing/2014/main" xmlns="" id="{F8F87EB0-C7FD-4B76-BB2B-AA5737A45BDE}"/>
              </a:ext>
            </a:extLst>
          </p:cNvPr>
          <p:cNvSpPr>
            <a:spLocks noGrp="1"/>
          </p:cNvSpPr>
          <p:nvPr>
            <p:ph type="body" sz="quarter" idx="11" hasCustomPrompt="1"/>
          </p:nvPr>
        </p:nvSpPr>
        <p:spPr>
          <a:xfrm>
            <a:off x="1" y="5846858"/>
            <a:ext cx="9906000" cy="329794"/>
          </a:xfrm>
          <a:prstGeom prst="rect">
            <a:avLst/>
          </a:prstGeom>
        </p:spPr>
        <p:txBody>
          <a:bodyPr/>
          <a:lstStyle>
            <a:lvl1pPr algn="ctr">
              <a:buNone/>
              <a:defRPr lang="en-GB" sz="1622" kern="1200" dirty="0">
                <a:solidFill>
                  <a:srgbClr val="404040"/>
                </a:solidFill>
                <a:latin typeface="Gill Sans Std Light" panose="020B030202010402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pPr lvl="0"/>
            <a:r>
              <a:rPr lang="en-US" dirty="0"/>
              <a:t>Subtitle</a:t>
            </a:r>
            <a:endParaRPr lang="en-GB" dirty="0"/>
          </a:p>
        </p:txBody>
      </p:sp>
      <p:sp>
        <p:nvSpPr>
          <p:cNvPr id="31" name="Text Placeholder 11">
            <a:extLst>
              <a:ext uri="{FF2B5EF4-FFF2-40B4-BE49-F238E27FC236}">
                <a16:creationId xmlns:a16="http://schemas.microsoft.com/office/drawing/2014/main" xmlns="" id="{35CEB194-0C8E-4D93-84AB-C53CDC5084B2}"/>
              </a:ext>
            </a:extLst>
          </p:cNvPr>
          <p:cNvSpPr>
            <a:spLocks noGrp="1"/>
          </p:cNvSpPr>
          <p:nvPr>
            <p:ph type="body" sz="quarter" idx="12" hasCustomPrompt="1"/>
          </p:nvPr>
        </p:nvSpPr>
        <p:spPr>
          <a:xfrm>
            <a:off x="1" y="6394530"/>
            <a:ext cx="9906000" cy="329794"/>
          </a:xfrm>
          <a:prstGeom prst="rect">
            <a:avLst/>
          </a:prstGeom>
        </p:spPr>
        <p:txBody>
          <a:bodyPr/>
          <a:lstStyle>
            <a:lvl1pPr algn="ctr">
              <a:buNone/>
              <a:defRPr lang="en-GB" sz="1032" kern="1200" dirty="0">
                <a:solidFill>
                  <a:srgbClr val="404040"/>
                </a:solidFill>
                <a:latin typeface="Gill Sans MT Std Light" panose="020B0302020104090203" pitchFamily="34" charset="0"/>
                <a:ea typeface="+mn-ea"/>
                <a:cs typeface="+mn-cs"/>
              </a:defRPr>
            </a:lvl1pPr>
            <a:lvl2pPr algn="ctr">
              <a:buNone/>
              <a:defRPr lang="en-US" sz="1769" kern="1200" dirty="0" smtClean="0">
                <a:solidFill>
                  <a:srgbClr val="966E32"/>
                </a:solidFill>
                <a:latin typeface="Gill Sans Std Light" panose="020B0302020104020203" pitchFamily="34" charset="0"/>
                <a:ea typeface="+mn-ea"/>
                <a:cs typeface="+mn-cs"/>
              </a:defRPr>
            </a:lvl2pPr>
            <a:lvl3pPr algn="ctr">
              <a:buNone/>
              <a:defRPr lang="en-US" sz="1769" kern="1200" dirty="0" smtClean="0">
                <a:solidFill>
                  <a:srgbClr val="966E32"/>
                </a:solidFill>
                <a:latin typeface="Gill Sans Std Light" panose="020B0302020104020203" pitchFamily="34" charset="0"/>
                <a:ea typeface="+mn-ea"/>
                <a:cs typeface="+mn-cs"/>
              </a:defRPr>
            </a:lvl3pPr>
            <a:lvl4pPr algn="ctr">
              <a:buNone/>
              <a:defRPr lang="en-US" sz="1769" kern="1200" dirty="0" smtClean="0">
                <a:solidFill>
                  <a:srgbClr val="966E32"/>
                </a:solidFill>
                <a:latin typeface="Gill Sans Std Light" panose="020B0302020104020203" pitchFamily="34" charset="0"/>
                <a:ea typeface="+mn-ea"/>
                <a:cs typeface="+mn-cs"/>
              </a:defRPr>
            </a:lvl4pPr>
            <a:lvl5pPr algn="ctr">
              <a:buNone/>
              <a:defRPr lang="en-GB" sz="1769" kern="1200" dirty="0">
                <a:solidFill>
                  <a:srgbClr val="966E32"/>
                </a:solidFill>
                <a:latin typeface="Gill Sans Std Light" panose="020B0302020104020203" pitchFamily="34" charset="0"/>
                <a:ea typeface="+mn-ea"/>
                <a:cs typeface="+mn-cs"/>
              </a:defRPr>
            </a:lvl5pPr>
          </a:lstStyle>
          <a:p>
            <a:r>
              <a:rPr lang="en-GB" dirty="0"/>
              <a:t>Month 2021</a:t>
            </a:r>
          </a:p>
        </p:txBody>
      </p:sp>
      <p:cxnSp>
        <p:nvCxnSpPr>
          <p:cNvPr id="91" name="Straight Connector 90">
            <a:extLst>
              <a:ext uri="{FF2B5EF4-FFF2-40B4-BE49-F238E27FC236}">
                <a16:creationId xmlns:a16="http://schemas.microsoft.com/office/drawing/2014/main" xmlns="" id="{5E849EF8-D3AA-4147-861A-E72E7E81300E}"/>
              </a:ext>
            </a:extLst>
          </p:cNvPr>
          <p:cNvCxnSpPr/>
          <p:nvPr userDrawn="1"/>
        </p:nvCxnSpPr>
        <p:spPr>
          <a:xfrm>
            <a:off x="0" y="4959250"/>
            <a:ext cx="9907470" cy="0"/>
          </a:xfrm>
          <a:prstGeom prst="line">
            <a:avLst/>
          </a:prstGeom>
          <a:ln w="28575">
            <a:solidFill>
              <a:srgbClr val="D2B4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25781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89" name="Picture 88">
            <a:extLst>
              <a:ext uri="{FF2B5EF4-FFF2-40B4-BE49-F238E27FC236}">
                <a16:creationId xmlns:a16="http://schemas.microsoft.com/office/drawing/2014/main" xmlns="" id="{25266C8B-6E4D-46A3-B84F-929F799CFEB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3584360" y="2904365"/>
            <a:ext cx="2796354" cy="1701247"/>
          </a:xfrm>
          <a:prstGeom prst="rect">
            <a:avLst/>
          </a:prstGeom>
        </p:spPr>
      </p:pic>
      <p:sp>
        <p:nvSpPr>
          <p:cNvPr id="17" name="Rectangle 16">
            <a:extLst>
              <a:ext uri="{FF2B5EF4-FFF2-40B4-BE49-F238E27FC236}">
                <a16:creationId xmlns:a16="http://schemas.microsoft.com/office/drawing/2014/main" xmlns="" id="{46E325E0-C4D3-49CF-90C9-17D548882E52}"/>
              </a:ext>
            </a:extLst>
          </p:cNvPr>
          <p:cNvSpPr/>
          <p:nvPr userDrawn="1"/>
        </p:nvSpPr>
        <p:spPr>
          <a:xfrm>
            <a:off x="3455918" y="2889791"/>
            <a:ext cx="2995636" cy="1702428"/>
          </a:xfrm>
          <a:prstGeom prst="rect">
            <a:avLst/>
          </a:prstGeom>
          <a:solidFill>
            <a:srgbClr val="FFFF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663" dirty="0">
              <a:solidFill>
                <a:schemeClr val="bg1"/>
              </a:solidFill>
              <a:latin typeface="Gill Sans MT"/>
            </a:endParaRPr>
          </a:p>
        </p:txBody>
      </p:sp>
      <p:sp>
        <p:nvSpPr>
          <p:cNvPr id="11" name="TextBox 10">
            <a:extLst>
              <a:ext uri="{FF2B5EF4-FFF2-40B4-BE49-F238E27FC236}">
                <a16:creationId xmlns:a16="http://schemas.microsoft.com/office/drawing/2014/main" xmlns="" id="{F2325444-DFCE-4403-AD06-C003F6463BAC}"/>
              </a:ext>
            </a:extLst>
          </p:cNvPr>
          <p:cNvSpPr txBox="1"/>
          <p:nvPr userDrawn="1"/>
        </p:nvSpPr>
        <p:spPr>
          <a:xfrm rot="10800000">
            <a:off x="174694" y="183815"/>
            <a:ext cx="9558082" cy="205762"/>
          </a:xfrm>
          <a:prstGeom prst="rect">
            <a:avLst/>
          </a:prstGeom>
          <a:noFill/>
        </p:spPr>
        <p:txBody>
          <a:bodyPr wrap="square" rtlCol="0">
            <a:spAutoFit/>
          </a:bodyPr>
          <a:lstStyle/>
          <a:p>
            <a:pPr algn="ctr"/>
            <a:r>
              <a:rPr lang="en-US" altLang="zh-CN" sz="737" dirty="0">
                <a:solidFill>
                  <a:schemeClr val="bg1">
                    <a:lumMod val="50000"/>
                  </a:schemeClr>
                </a:solidFill>
                <a:latin typeface="Gill Sans Std Light" pitchFamily="34" charset="0"/>
              </a:rPr>
              <a:t>Copyright © 2021 Chandler Institute of Governance. All rights reserved</a:t>
            </a:r>
          </a:p>
        </p:txBody>
      </p:sp>
    </p:spTree>
    <p:extLst>
      <p:ext uri="{BB962C8B-B14F-4D97-AF65-F5344CB8AC3E}">
        <p14:creationId xmlns:p14="http://schemas.microsoft.com/office/powerpoint/2010/main" val="37362055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39510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7101608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736842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0250303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329"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8023665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0380187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5478094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70289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xmlns="" id="{E0503C07-3BD0-4F7C-B8A3-9B9D0C43D20E}"/>
              </a:ext>
            </a:extLst>
          </p:cNvPr>
          <p:cNvSpPr txBox="1">
            <a:spLocks noChangeArrowheads="1"/>
          </p:cNvSpPr>
          <p:nvPr userDrawn="1"/>
        </p:nvSpPr>
        <p:spPr bwMode="auto">
          <a:xfrm>
            <a:off x="219075" y="6481837"/>
            <a:ext cx="3603625" cy="182101"/>
          </a:xfrm>
          <a:prstGeom prst="rect">
            <a:avLst/>
          </a:prstGeom>
          <a:noFill/>
          <a:ln w="9525">
            <a:noFill/>
            <a:miter lim="800000"/>
            <a:headEnd/>
            <a:tailEnd/>
          </a:ln>
        </p:spPr>
        <p:txBody>
          <a:bodyPr>
            <a:spAutoFit/>
          </a:bodyPr>
          <a:lstStyle/>
          <a:p>
            <a:pPr marL="0" algn="l" defTabSz="674004" rtl="0" eaLnBrk="1" latinLnBrk="0" hangingPunct="1">
              <a:lnSpc>
                <a:spcPts val="737"/>
              </a:lnSpc>
              <a:tabLst/>
            </a:pPr>
            <a:r>
              <a:rPr lang="en-US" altLang="zh-CN" sz="590" kern="1200" dirty="0">
                <a:solidFill>
                  <a:schemeClr val="bg1">
                    <a:lumMod val="65000"/>
                  </a:schemeClr>
                </a:solidFill>
                <a:latin typeface="Gill Sans Std Light" pitchFamily="34" charset="0"/>
                <a:ea typeface="+mn-ea"/>
                <a:cs typeface="Garamond" pitchFamily="18" charset="0"/>
              </a:rPr>
              <a:t>This document is strictly private and confidential</a:t>
            </a:r>
          </a:p>
        </p:txBody>
      </p:sp>
      <p:sp>
        <p:nvSpPr>
          <p:cNvPr id="4" name="TextBox 3">
            <a:extLst>
              <a:ext uri="{FF2B5EF4-FFF2-40B4-BE49-F238E27FC236}">
                <a16:creationId xmlns:a16="http://schemas.microsoft.com/office/drawing/2014/main" xmlns="" id="{B62E4A29-F7FA-49DF-9FFE-2E1FB1EB8FED}"/>
              </a:ext>
            </a:extLst>
          </p:cNvPr>
          <p:cNvSpPr txBox="1"/>
          <p:nvPr userDrawn="1"/>
        </p:nvSpPr>
        <p:spPr>
          <a:xfrm>
            <a:off x="0" y="3286816"/>
            <a:ext cx="9907470" cy="214760"/>
          </a:xfrm>
          <a:prstGeom prst="rect">
            <a:avLst/>
          </a:prstGeom>
          <a:noFill/>
        </p:spPr>
        <p:txBody>
          <a:bodyPr wrap="square" lIns="73389" tIns="36695" rIns="73389" bIns="36695" rtlCol="0">
            <a:spAutoFit/>
          </a:bodyPr>
          <a:lstStyle/>
          <a:p>
            <a:pPr algn="ctr"/>
            <a:r>
              <a:rPr lang="en-SG" altLang="zh-HK" sz="885" i="1" dirty="0">
                <a:solidFill>
                  <a:schemeClr val="bg1">
                    <a:lumMod val="65000"/>
                  </a:schemeClr>
                </a:solidFill>
                <a:latin typeface="Garamond" panose="02020404030301010803" pitchFamily="18" charset="0"/>
                <a:cs typeface="Gill Sans" pitchFamily="34" charset="-79"/>
              </a:rPr>
              <a:t>This page is intentionally left blank</a:t>
            </a:r>
          </a:p>
        </p:txBody>
      </p:sp>
      <p:pic>
        <p:nvPicPr>
          <p:cNvPr id="5" name="Picture 4">
            <a:extLst>
              <a:ext uri="{FF2B5EF4-FFF2-40B4-BE49-F238E27FC236}">
                <a16:creationId xmlns:a16="http://schemas.microsoft.com/office/drawing/2014/main" xmlns="" id="{6C84E62A-3B05-48A2-A719-C25065ABAD48}"/>
              </a:ext>
            </a:extLst>
          </p:cNvPr>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697022" y="5854091"/>
            <a:ext cx="1070596" cy="827845"/>
          </a:xfrm>
          <a:prstGeom prst="rect">
            <a:avLst/>
          </a:prstGeom>
        </p:spPr>
      </p:pic>
    </p:spTree>
    <p:extLst>
      <p:ext uri="{BB962C8B-B14F-4D97-AF65-F5344CB8AC3E}">
        <p14:creationId xmlns:p14="http://schemas.microsoft.com/office/powerpoint/2010/main" val="28506872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3614172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7625679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845611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One Column with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2225732"/>
            <a:ext cx="8873180" cy="4069223"/>
          </a:xfrm>
          <a:prstGeom prst="rect">
            <a:avLst/>
          </a:prstGeom>
        </p:spPr>
        <p:txBody>
          <a:bodyPr wrap="square" lIns="0" tIns="216000" rIns="0" bIns="0"/>
          <a:lstStyle>
            <a:lvl1pPr marL="0" indent="0">
              <a:buClr>
                <a:srgbClr val="966E32"/>
              </a:buClr>
              <a:buFont typeface="Arial" panose="020B0604020202020204" pitchFamily="34" charset="0"/>
              <a:buNone/>
              <a:defRPr sz="885">
                <a:solidFill>
                  <a:srgbClr val="404040"/>
                </a:solidFill>
                <a:latin typeface="Garamond" panose="02020404030301010803" pitchFamily="18"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buFont typeface="Arial" panose="020B0604020202020204" pitchFamily="34" charset="0"/>
              <a:buChar char="•"/>
            </a:pPr>
            <a:r>
              <a:rPr lang="en-US" dirty="0"/>
              <a:t>Bullet 1</a:t>
            </a:r>
          </a:p>
          <a:p>
            <a:pPr marL="126376" lvl="0" indent="-126376">
              <a:buFont typeface="Arial" panose="020B0604020202020204" pitchFamily="34" charset="0"/>
              <a:buChar char="•"/>
            </a:pPr>
            <a:r>
              <a:rPr lang="en-US" dirty="0"/>
              <a:t>Bullet 2</a:t>
            </a:r>
          </a:p>
          <a:p>
            <a:pPr marL="126376" lvl="0" indent="-126376">
              <a:buFont typeface="Arial" panose="020B0604020202020204" pitchFamily="34" charset="0"/>
              <a:buChar char="•"/>
            </a:pPr>
            <a:r>
              <a:rPr lang="en-US" dirty="0"/>
              <a:t>Bullet 3</a:t>
            </a:r>
          </a:p>
          <a:p>
            <a:pPr lvl="0"/>
            <a:endParaRPr lang="en-US" dirty="0"/>
          </a:p>
          <a:p>
            <a:pPr marL="168501" lvl="0" indent="-168501">
              <a:buFont typeface="+mj-lt"/>
              <a:buAutoNum type="arabicPeriod"/>
            </a:pPr>
            <a:r>
              <a:rPr lang="en-US" dirty="0"/>
              <a:t>Number 1</a:t>
            </a:r>
          </a:p>
          <a:p>
            <a:pPr marL="168501" lvl="0" indent="-168501">
              <a:buFont typeface="+mj-lt"/>
              <a:buAutoNum type="arabicPeriod"/>
            </a:pPr>
            <a:r>
              <a:rPr lang="en-US" dirty="0"/>
              <a:t>Number 2</a:t>
            </a:r>
          </a:p>
          <a:p>
            <a:pPr marL="168501" lvl="0" indent="-168501">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9" name="Text Placeholder 6">
            <a:extLst>
              <a:ext uri="{FF2B5EF4-FFF2-40B4-BE49-F238E27FC236}">
                <a16:creationId xmlns:a16="http://schemas.microsoft.com/office/drawing/2014/main" xmlns="" id="{98789E7E-9AC6-43E0-B6C8-C6B607BB3A43}"/>
              </a:ext>
            </a:extLst>
          </p:cNvPr>
          <p:cNvSpPr>
            <a:spLocks noGrp="1"/>
          </p:cNvSpPr>
          <p:nvPr>
            <p:ph type="body" sz="quarter" idx="18"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4" name="Text Placeholder 3">
            <a:extLst>
              <a:ext uri="{FF2B5EF4-FFF2-40B4-BE49-F238E27FC236}">
                <a16:creationId xmlns:a16="http://schemas.microsoft.com/office/drawing/2014/main" xmlns="" id="{59248D60-C7A2-44FA-A39B-231817FA3372}"/>
              </a:ext>
            </a:extLst>
          </p:cNvPr>
          <p:cNvSpPr>
            <a:spLocks noGrp="1"/>
          </p:cNvSpPr>
          <p:nvPr>
            <p:ph type="body" sz="quarter" idx="19" hasCustomPrompt="1"/>
          </p:nvPr>
        </p:nvSpPr>
        <p:spPr>
          <a:xfrm>
            <a:off x="516407" y="1204663"/>
            <a:ext cx="8873180" cy="1021068"/>
          </a:xfrm>
          <a:prstGeom prst="rect">
            <a:avLst/>
          </a:prstGeom>
        </p:spPr>
        <p:txBody>
          <a:bodyPr lIns="0" tIns="216000" rIns="0" bIns="0"/>
          <a:lstStyle>
            <a:lvl1pPr>
              <a:defRPr lang="en-US" sz="1032" kern="1200" dirty="0" smtClean="0">
                <a:solidFill>
                  <a:srgbClr val="404040"/>
                </a:solidFill>
                <a:latin typeface="Gill Sans Std Light" panose="020B0302020104020203" pitchFamily="34" charset="0"/>
                <a:ea typeface="+mn-ea"/>
                <a:cs typeface="Arial" charset="0"/>
              </a:defRPr>
            </a:lvl1pPr>
            <a:lvl2pPr>
              <a:defRPr lang="en-US" sz="1032" kern="1200" dirty="0" smtClean="0">
                <a:solidFill>
                  <a:srgbClr val="404040"/>
                </a:solidFill>
                <a:latin typeface="Gill Sans Std Light" panose="020B0302020104020203" pitchFamily="34" charset="0"/>
                <a:ea typeface="+mn-ea"/>
                <a:cs typeface="Arial" charset="0"/>
              </a:defRPr>
            </a:lvl2pPr>
            <a:lvl3pPr>
              <a:defRPr lang="en-US" sz="1032" kern="1200" dirty="0" smtClean="0">
                <a:solidFill>
                  <a:srgbClr val="404040"/>
                </a:solidFill>
                <a:latin typeface="Gill Sans Std Light" panose="020B0302020104020203" pitchFamily="34" charset="0"/>
                <a:ea typeface="+mn-ea"/>
                <a:cs typeface="Arial" charset="0"/>
              </a:defRPr>
            </a:lvl3pPr>
            <a:lvl4pPr>
              <a:defRPr lang="en-US" sz="1032" kern="1200" dirty="0" smtClean="0">
                <a:solidFill>
                  <a:srgbClr val="404040"/>
                </a:solidFill>
                <a:latin typeface="Gill Sans Std Light" panose="020B0302020104020203" pitchFamily="34" charset="0"/>
                <a:ea typeface="+mn-ea"/>
                <a:cs typeface="Arial" charset="0"/>
              </a:defRPr>
            </a:lvl4pPr>
            <a:lvl5pPr>
              <a:defRPr lang="en-GB" sz="1032" kern="1200" dirty="0">
                <a:solidFill>
                  <a:srgbClr val="404040"/>
                </a:solidFill>
                <a:latin typeface="Gill Sans Std Light" panose="020B0302020104020203" pitchFamily="34" charset="0"/>
                <a:ea typeface="+mn-ea"/>
                <a:cs typeface="Arial" charset="0"/>
              </a:defRPr>
            </a:lvl5pPr>
          </a:lstStyle>
          <a:p>
            <a:pPr marL="0" lvl="0" indent="0" algn="l" defTabSz="674004" rtl="0" eaLnBrk="1" latinLnBrk="0" hangingPunct="1">
              <a:lnSpc>
                <a:spcPct val="100000"/>
              </a:lnSpc>
              <a:spcBef>
                <a:spcPts val="0"/>
              </a:spcBef>
              <a:spcAft>
                <a:spcPts val="221"/>
              </a:spcAft>
              <a:buClr>
                <a:schemeClr val="tx2"/>
              </a:buClr>
              <a:buFont typeface="Arial" panose="020B0604020202020204" pitchFamily="34" charset="0"/>
              <a:buNone/>
            </a:pPr>
            <a:r>
              <a:rPr lang="en-US" dirty="0"/>
              <a:t>Introductory Paragraph</a:t>
            </a:r>
            <a:endParaRPr lang="en-GB" dirty="0"/>
          </a:p>
        </p:txBody>
      </p:sp>
    </p:spTree>
    <p:extLst>
      <p:ext uri="{BB962C8B-B14F-4D97-AF65-F5344CB8AC3E}">
        <p14:creationId xmlns:p14="http://schemas.microsoft.com/office/powerpoint/2010/main" val="135919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ontent">
    <p:spTree>
      <p:nvGrpSpPr>
        <p:cNvPr id="1" name=""/>
        <p:cNvGrpSpPr/>
        <p:nvPr/>
      </p:nvGrpSpPr>
      <p:grpSpPr>
        <a:xfrm>
          <a:off x="0" y="0"/>
          <a:ext cx="0" cy="0"/>
          <a:chOff x="0" y="0"/>
          <a:chExt cx="0" cy="0"/>
        </a:xfrm>
      </p:grpSpPr>
      <p:sp>
        <p:nvSpPr>
          <p:cNvPr id="2" name="TextBox 1"/>
          <p:cNvSpPr txBox="1"/>
          <p:nvPr/>
        </p:nvSpPr>
        <p:spPr>
          <a:xfrm>
            <a:off x="-7883" y="6506199"/>
            <a:ext cx="9912412" cy="161583"/>
          </a:xfrm>
          <a:prstGeom prst="rect">
            <a:avLst/>
          </a:prstGeom>
          <a:noFill/>
        </p:spPr>
        <p:txBody>
          <a:bodyPr wrap="square" lIns="0" tIns="0" rIns="0" rtlCol="0">
            <a:spAutoFit/>
          </a:bodyPr>
          <a:lstStyle/>
          <a:p>
            <a:pPr algn="ctr">
              <a:lnSpc>
                <a:spcPts val="907"/>
              </a:lnSpc>
            </a:pPr>
            <a:fld id="{2C1C0280-D1D3-4E72-9636-B8F4802BAF83}" type="slidenum">
              <a:rPr lang="en-US" altLang="zh-CN" sz="726" smtClean="0">
                <a:solidFill>
                  <a:srgbClr val="8A9789"/>
                </a:solidFill>
                <a:latin typeface="Gill Sans Std Light" pitchFamily="34" charset="0"/>
                <a:cs typeface="Times New Roman" pitchFamily="18" charset="0"/>
              </a:rPr>
              <a:pPr algn="ctr">
                <a:lnSpc>
                  <a:spcPts val="907"/>
                </a:lnSpc>
              </a:pPr>
              <a:t>‹#›</a:t>
            </a:fld>
            <a:endParaRPr lang="en-US" altLang="zh-CN" sz="726">
              <a:solidFill>
                <a:srgbClr val="8A9789"/>
              </a:solidFill>
              <a:latin typeface="Gill Sans Std Light" pitchFamily="34" charset="0"/>
              <a:cs typeface="Garamond" pitchFamily="18" charset="0"/>
            </a:endParaRPr>
          </a:p>
        </p:txBody>
      </p:sp>
      <p:sp>
        <p:nvSpPr>
          <p:cNvPr id="3" name="Title 2">
            <a:extLst>
              <a:ext uri="{FF2B5EF4-FFF2-40B4-BE49-F238E27FC236}">
                <a16:creationId xmlns:a16="http://schemas.microsoft.com/office/drawing/2014/main" xmlns="" id="{A87E6DF0-A1C7-3B42-9F6F-CD5575FC5D2B}"/>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41524858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Whit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41780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286798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965389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575653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546249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old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E2864793-CD55-4BF9-9396-66534FAE2B26}"/>
              </a:ext>
            </a:extLst>
          </p:cNvPr>
          <p:cNvSpPr/>
          <p:nvPr userDrawn="1"/>
        </p:nvSpPr>
        <p:spPr>
          <a:xfrm>
            <a:off x="0" y="1"/>
            <a:ext cx="9907470" cy="6859441"/>
          </a:xfrm>
          <a:prstGeom prst="rect">
            <a:avLst/>
          </a:prstGeom>
          <a:solidFill>
            <a:srgbClr val="E6D2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en-GB" sz="1327"/>
          </a:p>
        </p:txBody>
      </p:sp>
    </p:spTree>
    <p:extLst>
      <p:ext uri="{BB962C8B-B14F-4D97-AF65-F5344CB8AC3E}">
        <p14:creationId xmlns:p14="http://schemas.microsoft.com/office/powerpoint/2010/main" val="33387446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329"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523421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1182692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184341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32830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594762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9384814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5/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7292809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xmlns="" id="{E0503C07-3BD0-4F7C-B8A3-9B9D0C43D20E}"/>
              </a:ext>
            </a:extLst>
          </p:cNvPr>
          <p:cNvSpPr txBox="1">
            <a:spLocks noChangeArrowheads="1"/>
          </p:cNvSpPr>
          <p:nvPr userDrawn="1"/>
        </p:nvSpPr>
        <p:spPr bwMode="auto">
          <a:xfrm>
            <a:off x="219075" y="6481837"/>
            <a:ext cx="3603625" cy="182101"/>
          </a:xfrm>
          <a:prstGeom prst="rect">
            <a:avLst/>
          </a:prstGeom>
          <a:noFill/>
          <a:ln w="9525">
            <a:noFill/>
            <a:miter lim="800000"/>
            <a:headEnd/>
            <a:tailEnd/>
          </a:ln>
        </p:spPr>
        <p:txBody>
          <a:bodyPr>
            <a:spAutoFit/>
          </a:bodyPr>
          <a:lstStyle/>
          <a:p>
            <a:pPr marL="0" algn="l" defTabSz="674004" rtl="0" eaLnBrk="1" latinLnBrk="0" hangingPunct="1">
              <a:lnSpc>
                <a:spcPts val="737"/>
              </a:lnSpc>
              <a:tabLst/>
            </a:pPr>
            <a:r>
              <a:rPr lang="en-US" altLang="zh-CN" sz="590" kern="1200" dirty="0">
                <a:solidFill>
                  <a:schemeClr val="bg1">
                    <a:lumMod val="65000"/>
                  </a:schemeClr>
                </a:solidFill>
                <a:latin typeface="Gill Sans Std Light" pitchFamily="34" charset="0"/>
                <a:ea typeface="+mn-ea"/>
                <a:cs typeface="Garamond" pitchFamily="18" charset="0"/>
              </a:rPr>
              <a:t>This document is strictly private and confidential</a:t>
            </a:r>
          </a:p>
        </p:txBody>
      </p:sp>
      <p:sp>
        <p:nvSpPr>
          <p:cNvPr id="4" name="TextBox 3">
            <a:extLst>
              <a:ext uri="{FF2B5EF4-FFF2-40B4-BE49-F238E27FC236}">
                <a16:creationId xmlns:a16="http://schemas.microsoft.com/office/drawing/2014/main" xmlns="" id="{B62E4A29-F7FA-49DF-9FFE-2E1FB1EB8FED}"/>
              </a:ext>
            </a:extLst>
          </p:cNvPr>
          <p:cNvSpPr txBox="1"/>
          <p:nvPr userDrawn="1"/>
        </p:nvSpPr>
        <p:spPr>
          <a:xfrm>
            <a:off x="0" y="3286816"/>
            <a:ext cx="9907470" cy="214760"/>
          </a:xfrm>
          <a:prstGeom prst="rect">
            <a:avLst/>
          </a:prstGeom>
          <a:noFill/>
        </p:spPr>
        <p:txBody>
          <a:bodyPr wrap="square" lIns="73389" tIns="36695" rIns="73389" bIns="36695" rtlCol="0">
            <a:spAutoFit/>
          </a:bodyPr>
          <a:lstStyle/>
          <a:p>
            <a:pPr algn="ctr"/>
            <a:r>
              <a:rPr lang="en-SG" altLang="zh-HK" sz="885" i="1" dirty="0">
                <a:solidFill>
                  <a:schemeClr val="bg1">
                    <a:lumMod val="65000"/>
                  </a:schemeClr>
                </a:solidFill>
                <a:latin typeface="Garamond" panose="02020404030301010803" pitchFamily="18" charset="0"/>
                <a:cs typeface="Gill Sans" pitchFamily="34" charset="-79"/>
              </a:rPr>
              <a:t>This page is intentionally left blank</a:t>
            </a:r>
          </a:p>
        </p:txBody>
      </p:sp>
      <p:pic>
        <p:nvPicPr>
          <p:cNvPr id="84" name="Picture 83">
            <a:extLst>
              <a:ext uri="{FF2B5EF4-FFF2-40B4-BE49-F238E27FC236}">
                <a16:creationId xmlns:a16="http://schemas.microsoft.com/office/drawing/2014/main" xmlns="" id="{CF74E314-337D-4CAC-89C6-8F76A63E91DC}"/>
              </a:ext>
            </a:extLst>
          </p:cNvPr>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406882" y="5854091"/>
            <a:ext cx="1360736" cy="827845"/>
          </a:xfrm>
          <a:prstGeom prst="rect">
            <a:avLst/>
          </a:prstGeom>
        </p:spPr>
      </p:pic>
    </p:spTree>
    <p:extLst>
      <p:ext uri="{BB962C8B-B14F-4D97-AF65-F5344CB8AC3E}">
        <p14:creationId xmlns:p14="http://schemas.microsoft.com/office/powerpoint/2010/main" val="2243489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One Column with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2225732"/>
            <a:ext cx="8873180" cy="4069223"/>
          </a:xfrm>
          <a:prstGeom prst="rect">
            <a:avLst/>
          </a:prstGeom>
        </p:spPr>
        <p:txBody>
          <a:bodyPr wrap="square" lIns="0" tIns="216000" rIns="0" bIns="0"/>
          <a:lstStyle>
            <a:lvl1pPr marL="0" indent="0">
              <a:buClr>
                <a:srgbClr val="966E32"/>
              </a:buClr>
              <a:buFont typeface="Arial" panose="020B0604020202020204" pitchFamily="34" charset="0"/>
              <a:buNone/>
              <a:defRPr sz="885">
                <a:solidFill>
                  <a:srgbClr val="404040"/>
                </a:solidFill>
                <a:latin typeface="Garamond" panose="02020404030301010803" pitchFamily="18"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buFont typeface="Arial" panose="020B0604020202020204" pitchFamily="34" charset="0"/>
              <a:buChar char="•"/>
            </a:pPr>
            <a:r>
              <a:rPr lang="en-US" dirty="0"/>
              <a:t>Bullet 1</a:t>
            </a:r>
          </a:p>
          <a:p>
            <a:pPr marL="126376" lvl="0" indent="-126376">
              <a:buFont typeface="Arial" panose="020B0604020202020204" pitchFamily="34" charset="0"/>
              <a:buChar char="•"/>
            </a:pPr>
            <a:r>
              <a:rPr lang="en-US" dirty="0"/>
              <a:t>Bullet 2</a:t>
            </a:r>
          </a:p>
          <a:p>
            <a:pPr marL="126376" lvl="0" indent="-126376">
              <a:buFont typeface="Arial" panose="020B0604020202020204" pitchFamily="34" charset="0"/>
              <a:buChar char="•"/>
            </a:pPr>
            <a:r>
              <a:rPr lang="en-US" dirty="0"/>
              <a:t>Bullet 3</a:t>
            </a:r>
          </a:p>
          <a:p>
            <a:pPr lvl="0"/>
            <a:endParaRPr lang="en-US" dirty="0"/>
          </a:p>
          <a:p>
            <a:pPr marL="168501" lvl="0" indent="-168501">
              <a:buFont typeface="+mj-lt"/>
              <a:buAutoNum type="arabicPeriod"/>
            </a:pPr>
            <a:r>
              <a:rPr lang="en-US" dirty="0"/>
              <a:t>Number 1</a:t>
            </a:r>
          </a:p>
          <a:p>
            <a:pPr marL="168501" lvl="0" indent="-168501">
              <a:buFont typeface="+mj-lt"/>
              <a:buAutoNum type="arabicPeriod"/>
            </a:pPr>
            <a:r>
              <a:rPr lang="en-US" dirty="0"/>
              <a:t>Number 2</a:t>
            </a:r>
          </a:p>
          <a:p>
            <a:pPr marL="168501" lvl="0" indent="-168501">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9" name="Text Placeholder 6">
            <a:extLst>
              <a:ext uri="{FF2B5EF4-FFF2-40B4-BE49-F238E27FC236}">
                <a16:creationId xmlns:a16="http://schemas.microsoft.com/office/drawing/2014/main" xmlns="" id="{98789E7E-9AC6-43E0-B6C8-C6B607BB3A43}"/>
              </a:ext>
            </a:extLst>
          </p:cNvPr>
          <p:cNvSpPr>
            <a:spLocks noGrp="1"/>
          </p:cNvSpPr>
          <p:nvPr>
            <p:ph type="body" sz="quarter" idx="18"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4" name="Text Placeholder 3">
            <a:extLst>
              <a:ext uri="{FF2B5EF4-FFF2-40B4-BE49-F238E27FC236}">
                <a16:creationId xmlns:a16="http://schemas.microsoft.com/office/drawing/2014/main" xmlns="" id="{59248D60-C7A2-44FA-A39B-231817FA3372}"/>
              </a:ext>
            </a:extLst>
          </p:cNvPr>
          <p:cNvSpPr>
            <a:spLocks noGrp="1"/>
          </p:cNvSpPr>
          <p:nvPr>
            <p:ph type="body" sz="quarter" idx="19" hasCustomPrompt="1"/>
          </p:nvPr>
        </p:nvSpPr>
        <p:spPr>
          <a:xfrm>
            <a:off x="516407" y="1204663"/>
            <a:ext cx="8873180" cy="1021068"/>
          </a:xfrm>
          <a:prstGeom prst="rect">
            <a:avLst/>
          </a:prstGeom>
        </p:spPr>
        <p:txBody>
          <a:bodyPr lIns="0" tIns="216000" rIns="0" bIns="0"/>
          <a:lstStyle>
            <a:lvl1pPr>
              <a:defRPr lang="en-US" sz="1032" kern="1200" dirty="0" smtClean="0">
                <a:solidFill>
                  <a:srgbClr val="404040"/>
                </a:solidFill>
                <a:latin typeface="Gill Sans Std Light" panose="020B0302020104020203" pitchFamily="34" charset="0"/>
                <a:ea typeface="+mn-ea"/>
                <a:cs typeface="Arial" charset="0"/>
              </a:defRPr>
            </a:lvl1pPr>
            <a:lvl2pPr>
              <a:defRPr lang="en-US" sz="1032" kern="1200" dirty="0" smtClean="0">
                <a:solidFill>
                  <a:srgbClr val="404040"/>
                </a:solidFill>
                <a:latin typeface="Gill Sans Std Light" panose="020B0302020104020203" pitchFamily="34" charset="0"/>
                <a:ea typeface="+mn-ea"/>
                <a:cs typeface="Arial" charset="0"/>
              </a:defRPr>
            </a:lvl2pPr>
            <a:lvl3pPr>
              <a:defRPr lang="en-US" sz="1032" kern="1200" dirty="0" smtClean="0">
                <a:solidFill>
                  <a:srgbClr val="404040"/>
                </a:solidFill>
                <a:latin typeface="Gill Sans Std Light" panose="020B0302020104020203" pitchFamily="34" charset="0"/>
                <a:ea typeface="+mn-ea"/>
                <a:cs typeface="Arial" charset="0"/>
              </a:defRPr>
            </a:lvl3pPr>
            <a:lvl4pPr>
              <a:defRPr lang="en-US" sz="1032" kern="1200" dirty="0" smtClean="0">
                <a:solidFill>
                  <a:srgbClr val="404040"/>
                </a:solidFill>
                <a:latin typeface="Gill Sans Std Light" panose="020B0302020104020203" pitchFamily="34" charset="0"/>
                <a:ea typeface="+mn-ea"/>
                <a:cs typeface="Arial" charset="0"/>
              </a:defRPr>
            </a:lvl4pPr>
            <a:lvl5pPr>
              <a:defRPr lang="en-GB" sz="1032" kern="1200" dirty="0">
                <a:solidFill>
                  <a:srgbClr val="404040"/>
                </a:solidFill>
                <a:latin typeface="Gill Sans Std Light" panose="020B0302020104020203" pitchFamily="34" charset="0"/>
                <a:ea typeface="+mn-ea"/>
                <a:cs typeface="Arial" charset="0"/>
              </a:defRPr>
            </a:lvl5pPr>
          </a:lstStyle>
          <a:p>
            <a:pPr marL="0" lvl="0" indent="0" algn="l" defTabSz="674004" rtl="0" eaLnBrk="1" latinLnBrk="0" hangingPunct="1">
              <a:lnSpc>
                <a:spcPct val="100000"/>
              </a:lnSpc>
              <a:spcBef>
                <a:spcPts val="0"/>
              </a:spcBef>
              <a:spcAft>
                <a:spcPts val="221"/>
              </a:spcAft>
              <a:buClr>
                <a:schemeClr val="tx2"/>
              </a:buClr>
              <a:buFont typeface="Arial" panose="020B0604020202020204" pitchFamily="34" charset="0"/>
              <a:buNone/>
            </a:pPr>
            <a:r>
              <a:rPr lang="en-US" dirty="0"/>
              <a:t>Introductory Paragraph</a:t>
            </a:r>
            <a:endParaRPr lang="en-GB" dirty="0"/>
          </a:p>
        </p:txBody>
      </p:sp>
    </p:spTree>
    <p:extLst>
      <p:ext uri="{BB962C8B-B14F-4D97-AF65-F5344CB8AC3E}">
        <p14:creationId xmlns:p14="http://schemas.microsoft.com/office/powerpoint/2010/main" val="152036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0998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with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2225732"/>
            <a:ext cx="8873180" cy="4069223"/>
          </a:xfrm>
          <a:prstGeom prst="rect">
            <a:avLst/>
          </a:prstGeom>
        </p:spPr>
        <p:txBody>
          <a:bodyPr wrap="square" lIns="0" tIns="216000" rIns="0" bIns="0"/>
          <a:lstStyle>
            <a:lvl1pPr marL="0" indent="0">
              <a:buClr>
                <a:srgbClr val="966E32"/>
              </a:buClr>
              <a:buFont typeface="Arial" panose="020B0604020202020204" pitchFamily="34" charset="0"/>
              <a:buNone/>
              <a:defRPr sz="885">
                <a:solidFill>
                  <a:srgbClr val="404040"/>
                </a:solidFill>
                <a:latin typeface="Garamond" panose="02020404030301010803" pitchFamily="18"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buFont typeface="Arial" panose="020B0604020202020204" pitchFamily="34" charset="0"/>
              <a:buChar char="•"/>
            </a:pPr>
            <a:r>
              <a:rPr lang="en-US" dirty="0"/>
              <a:t>Bullet 1</a:t>
            </a:r>
          </a:p>
          <a:p>
            <a:pPr marL="126376" lvl="0" indent="-126376">
              <a:buFont typeface="Arial" panose="020B0604020202020204" pitchFamily="34" charset="0"/>
              <a:buChar char="•"/>
            </a:pPr>
            <a:r>
              <a:rPr lang="en-US" dirty="0"/>
              <a:t>Bullet 2</a:t>
            </a:r>
          </a:p>
          <a:p>
            <a:pPr marL="126376" lvl="0" indent="-126376">
              <a:buFont typeface="Arial" panose="020B0604020202020204" pitchFamily="34" charset="0"/>
              <a:buChar char="•"/>
            </a:pPr>
            <a:r>
              <a:rPr lang="en-US" dirty="0"/>
              <a:t>Bullet 3</a:t>
            </a:r>
          </a:p>
          <a:p>
            <a:pPr lvl="0"/>
            <a:endParaRPr lang="en-US" dirty="0"/>
          </a:p>
          <a:p>
            <a:pPr marL="168501" lvl="0" indent="-168501">
              <a:buFont typeface="+mj-lt"/>
              <a:buAutoNum type="arabicPeriod"/>
            </a:pPr>
            <a:r>
              <a:rPr lang="en-US" dirty="0"/>
              <a:t>Number 1</a:t>
            </a:r>
          </a:p>
          <a:p>
            <a:pPr marL="168501" lvl="0" indent="-168501">
              <a:buFont typeface="+mj-lt"/>
              <a:buAutoNum type="arabicPeriod"/>
            </a:pPr>
            <a:r>
              <a:rPr lang="en-US" dirty="0"/>
              <a:t>Number 2</a:t>
            </a:r>
          </a:p>
          <a:p>
            <a:pPr marL="168501" lvl="0" indent="-168501">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9" name="Text Placeholder 6">
            <a:extLst>
              <a:ext uri="{FF2B5EF4-FFF2-40B4-BE49-F238E27FC236}">
                <a16:creationId xmlns:a16="http://schemas.microsoft.com/office/drawing/2014/main" xmlns="" id="{98789E7E-9AC6-43E0-B6C8-C6B607BB3A43}"/>
              </a:ext>
            </a:extLst>
          </p:cNvPr>
          <p:cNvSpPr>
            <a:spLocks noGrp="1"/>
          </p:cNvSpPr>
          <p:nvPr>
            <p:ph type="body" sz="quarter" idx="18"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4" name="Text Placeholder 3">
            <a:extLst>
              <a:ext uri="{FF2B5EF4-FFF2-40B4-BE49-F238E27FC236}">
                <a16:creationId xmlns:a16="http://schemas.microsoft.com/office/drawing/2014/main" xmlns="" id="{59248D60-C7A2-44FA-A39B-231817FA3372}"/>
              </a:ext>
            </a:extLst>
          </p:cNvPr>
          <p:cNvSpPr>
            <a:spLocks noGrp="1"/>
          </p:cNvSpPr>
          <p:nvPr>
            <p:ph type="body" sz="quarter" idx="19" hasCustomPrompt="1"/>
          </p:nvPr>
        </p:nvSpPr>
        <p:spPr>
          <a:xfrm>
            <a:off x="516407" y="1204663"/>
            <a:ext cx="8873180" cy="1021068"/>
          </a:xfrm>
          <a:prstGeom prst="rect">
            <a:avLst/>
          </a:prstGeom>
        </p:spPr>
        <p:txBody>
          <a:bodyPr lIns="0" tIns="216000" rIns="0" bIns="0"/>
          <a:lstStyle>
            <a:lvl1pPr>
              <a:defRPr lang="en-US" sz="1032" kern="1200" dirty="0" smtClean="0">
                <a:solidFill>
                  <a:srgbClr val="404040"/>
                </a:solidFill>
                <a:latin typeface="Gill Sans Std Light" panose="020B0302020104020203" pitchFamily="34" charset="0"/>
                <a:ea typeface="+mn-ea"/>
                <a:cs typeface="Arial" charset="0"/>
              </a:defRPr>
            </a:lvl1pPr>
            <a:lvl2pPr>
              <a:defRPr lang="en-US" sz="1032" kern="1200" dirty="0" smtClean="0">
                <a:solidFill>
                  <a:srgbClr val="404040"/>
                </a:solidFill>
                <a:latin typeface="Gill Sans Std Light" panose="020B0302020104020203" pitchFamily="34" charset="0"/>
                <a:ea typeface="+mn-ea"/>
                <a:cs typeface="Arial" charset="0"/>
              </a:defRPr>
            </a:lvl2pPr>
            <a:lvl3pPr>
              <a:defRPr lang="en-US" sz="1032" kern="1200" dirty="0" smtClean="0">
                <a:solidFill>
                  <a:srgbClr val="404040"/>
                </a:solidFill>
                <a:latin typeface="Gill Sans Std Light" panose="020B0302020104020203" pitchFamily="34" charset="0"/>
                <a:ea typeface="+mn-ea"/>
                <a:cs typeface="Arial" charset="0"/>
              </a:defRPr>
            </a:lvl3pPr>
            <a:lvl4pPr>
              <a:defRPr lang="en-US" sz="1032" kern="1200" dirty="0" smtClean="0">
                <a:solidFill>
                  <a:srgbClr val="404040"/>
                </a:solidFill>
                <a:latin typeface="Gill Sans Std Light" panose="020B0302020104020203" pitchFamily="34" charset="0"/>
                <a:ea typeface="+mn-ea"/>
                <a:cs typeface="Arial" charset="0"/>
              </a:defRPr>
            </a:lvl4pPr>
            <a:lvl5pPr>
              <a:defRPr lang="en-GB" sz="1032" kern="1200" dirty="0">
                <a:solidFill>
                  <a:srgbClr val="404040"/>
                </a:solidFill>
                <a:latin typeface="Gill Sans Std Light" panose="020B0302020104020203" pitchFamily="34" charset="0"/>
                <a:ea typeface="+mn-ea"/>
                <a:cs typeface="Arial" charset="0"/>
              </a:defRPr>
            </a:lvl5pPr>
          </a:lstStyle>
          <a:p>
            <a:pPr marL="0" lvl="0" indent="0" algn="l" defTabSz="674004" rtl="0" eaLnBrk="1" latinLnBrk="0" hangingPunct="1">
              <a:lnSpc>
                <a:spcPct val="100000"/>
              </a:lnSpc>
              <a:spcBef>
                <a:spcPts val="0"/>
              </a:spcBef>
              <a:spcAft>
                <a:spcPts val="221"/>
              </a:spcAft>
              <a:buClr>
                <a:schemeClr val="tx2"/>
              </a:buClr>
              <a:buFont typeface="Arial" panose="020B0604020202020204" pitchFamily="34" charset="0"/>
              <a:buNone/>
            </a:pPr>
            <a:r>
              <a:rPr lang="en-US" dirty="0"/>
              <a:t>Introductory Paragraph</a:t>
            </a:r>
            <a:endParaRPr lang="en-GB" dirty="0"/>
          </a:p>
        </p:txBody>
      </p:sp>
    </p:spTree>
    <p:extLst>
      <p:ext uri="{BB962C8B-B14F-4D97-AF65-F5344CB8AC3E}">
        <p14:creationId xmlns:p14="http://schemas.microsoft.com/office/powerpoint/2010/main" val="28240142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with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2225732"/>
            <a:ext cx="4178464" cy="4069223"/>
          </a:xfrm>
          <a:prstGeom prst="rect">
            <a:avLst/>
          </a:prstGeom>
        </p:spPr>
        <p:txBody>
          <a:bodyPr wrap="square" lIns="0" tIns="216000" rIns="0" bIns="0"/>
          <a:lstStyle>
            <a:lvl1pPr marL="0" indent="0">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13" name="Content Placeholder 4">
            <a:extLst>
              <a:ext uri="{FF2B5EF4-FFF2-40B4-BE49-F238E27FC236}">
                <a16:creationId xmlns:a16="http://schemas.microsoft.com/office/drawing/2014/main" xmlns="" id="{DE1EEEDF-BDA5-4913-8A7F-1711781E68A9}"/>
              </a:ext>
            </a:extLst>
          </p:cNvPr>
          <p:cNvSpPr>
            <a:spLocks noGrp="1"/>
          </p:cNvSpPr>
          <p:nvPr>
            <p:ph sz="quarter" idx="18" hasCustomPrompt="1"/>
          </p:nvPr>
        </p:nvSpPr>
        <p:spPr>
          <a:xfrm>
            <a:off x="5211051" y="2225732"/>
            <a:ext cx="4178464" cy="4069223"/>
          </a:xfrm>
          <a:prstGeom prst="rect">
            <a:avLst/>
          </a:prstGeom>
        </p:spPr>
        <p:txBody>
          <a:bodyPr wrap="square" lIns="0" tIns="216000" rIns="0" bIns="0"/>
          <a:lstStyle>
            <a:lvl1pPr marL="0" indent="0">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p:txBody>
      </p:sp>
      <p:sp>
        <p:nvSpPr>
          <p:cNvPr id="14" name="Text Placeholder 6">
            <a:extLst>
              <a:ext uri="{FF2B5EF4-FFF2-40B4-BE49-F238E27FC236}">
                <a16:creationId xmlns:a16="http://schemas.microsoft.com/office/drawing/2014/main" xmlns="" id="{1521B40F-6F1A-45FF-A987-5C72CB05521F}"/>
              </a:ext>
            </a:extLst>
          </p:cNvPr>
          <p:cNvSpPr>
            <a:spLocks noGrp="1"/>
          </p:cNvSpPr>
          <p:nvPr>
            <p:ph type="body" sz="quarter" idx="19" hasCustomPrompt="1"/>
          </p:nvPr>
        </p:nvSpPr>
        <p:spPr>
          <a:xfrm>
            <a:off x="516408" y="915883"/>
            <a:ext cx="8873181" cy="287745"/>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
        <p:nvSpPr>
          <p:cNvPr id="15" name="Text Placeholder 3">
            <a:extLst>
              <a:ext uri="{FF2B5EF4-FFF2-40B4-BE49-F238E27FC236}">
                <a16:creationId xmlns:a16="http://schemas.microsoft.com/office/drawing/2014/main" xmlns="" id="{D6148E73-A80A-44F8-A61F-8CE04A2C10A9}"/>
              </a:ext>
            </a:extLst>
          </p:cNvPr>
          <p:cNvSpPr>
            <a:spLocks noGrp="1"/>
          </p:cNvSpPr>
          <p:nvPr>
            <p:ph type="body" sz="quarter" idx="20" hasCustomPrompt="1"/>
          </p:nvPr>
        </p:nvSpPr>
        <p:spPr>
          <a:xfrm>
            <a:off x="516407" y="1204663"/>
            <a:ext cx="8873180" cy="1021068"/>
          </a:xfrm>
          <a:prstGeom prst="rect">
            <a:avLst/>
          </a:prstGeom>
        </p:spPr>
        <p:txBody>
          <a:bodyPr lIns="0" tIns="216000" rIns="0" bIns="0"/>
          <a:lstStyle>
            <a:lvl1pPr>
              <a:defRPr lang="en-US" sz="1032" kern="1200" dirty="0" smtClean="0">
                <a:solidFill>
                  <a:srgbClr val="404040"/>
                </a:solidFill>
                <a:latin typeface="Gill Sans Std Light" panose="020B0302020104020203" pitchFamily="34" charset="0"/>
                <a:ea typeface="+mn-ea"/>
                <a:cs typeface="Arial" charset="0"/>
              </a:defRPr>
            </a:lvl1pPr>
            <a:lvl2pPr>
              <a:defRPr lang="en-US" sz="1032" kern="1200" dirty="0" smtClean="0">
                <a:solidFill>
                  <a:srgbClr val="404040"/>
                </a:solidFill>
                <a:latin typeface="Gill Sans Std Light" panose="020B0302020104020203" pitchFamily="34" charset="0"/>
                <a:ea typeface="+mn-ea"/>
                <a:cs typeface="Arial" charset="0"/>
              </a:defRPr>
            </a:lvl2pPr>
            <a:lvl3pPr>
              <a:defRPr lang="en-US" sz="1032" kern="1200" dirty="0" smtClean="0">
                <a:solidFill>
                  <a:srgbClr val="404040"/>
                </a:solidFill>
                <a:latin typeface="Gill Sans Std Light" panose="020B0302020104020203" pitchFamily="34" charset="0"/>
                <a:ea typeface="+mn-ea"/>
                <a:cs typeface="Arial" charset="0"/>
              </a:defRPr>
            </a:lvl3pPr>
            <a:lvl4pPr>
              <a:defRPr lang="en-US" sz="1032" kern="1200" dirty="0" smtClean="0">
                <a:solidFill>
                  <a:srgbClr val="404040"/>
                </a:solidFill>
                <a:latin typeface="Gill Sans Std Light" panose="020B0302020104020203" pitchFamily="34" charset="0"/>
                <a:ea typeface="+mn-ea"/>
                <a:cs typeface="Arial" charset="0"/>
              </a:defRPr>
            </a:lvl4pPr>
            <a:lvl5pPr>
              <a:defRPr lang="en-GB" sz="1032" kern="1200" dirty="0">
                <a:solidFill>
                  <a:srgbClr val="404040"/>
                </a:solidFill>
                <a:latin typeface="Gill Sans Std Light" panose="020B0302020104020203" pitchFamily="34" charset="0"/>
                <a:ea typeface="+mn-ea"/>
                <a:cs typeface="Arial" charset="0"/>
              </a:defRPr>
            </a:lvl5pPr>
          </a:lstStyle>
          <a:p>
            <a:pPr marL="0" lvl="0" indent="0" algn="l" defTabSz="674004" rtl="0" eaLnBrk="1" latinLnBrk="0" hangingPunct="1">
              <a:lnSpc>
                <a:spcPct val="100000"/>
              </a:lnSpc>
              <a:spcBef>
                <a:spcPts val="0"/>
              </a:spcBef>
              <a:spcAft>
                <a:spcPts val="221"/>
              </a:spcAft>
              <a:buClr>
                <a:schemeClr val="tx2"/>
              </a:buClr>
              <a:buFont typeface="Arial" panose="020B0604020202020204" pitchFamily="34" charset="0"/>
              <a:buNone/>
            </a:pPr>
            <a:r>
              <a:rPr lang="en-US" dirty="0"/>
              <a:t>Introductory Paragraph</a:t>
            </a:r>
            <a:endParaRPr lang="en-GB" dirty="0"/>
          </a:p>
        </p:txBody>
      </p:sp>
    </p:spTree>
    <p:extLst>
      <p:ext uri="{BB962C8B-B14F-4D97-AF65-F5344CB8AC3E}">
        <p14:creationId xmlns:p14="http://schemas.microsoft.com/office/powerpoint/2010/main" val="3312091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without Intro">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4790691-7D53-4147-9146-80FF67430025}"/>
              </a:ext>
            </a:extLst>
          </p:cNvPr>
          <p:cNvSpPr>
            <a:spLocks noGrp="1"/>
          </p:cNvSpPr>
          <p:nvPr>
            <p:ph sz="quarter" idx="15" hasCustomPrompt="1"/>
          </p:nvPr>
        </p:nvSpPr>
        <p:spPr>
          <a:xfrm>
            <a:off x="516409" y="1203629"/>
            <a:ext cx="8873180" cy="5091325"/>
          </a:xfrm>
          <a:prstGeom prst="rect">
            <a:avLst/>
          </a:prstGeom>
        </p:spPr>
        <p:txBody>
          <a:bodyPr wrap="square" lIns="0" tIns="216000" rIns="0" bIns="0"/>
          <a:lstStyle>
            <a:lvl1pPr marL="0" indent="0">
              <a:buFont typeface="Arial" panose="020B0604020202020204" pitchFamily="34" charset="0"/>
              <a:buNone/>
              <a:defRPr lang="en-US" sz="885" kern="1200" dirty="0">
                <a:solidFill>
                  <a:srgbClr val="404040"/>
                </a:solidFill>
                <a:latin typeface="Garamond" panose="02020404030301010803" pitchFamily="18" charset="0"/>
                <a:ea typeface="+mn-ea"/>
                <a:cs typeface="Arial" charset="0"/>
              </a:defRPr>
            </a:lvl1pPr>
            <a:lvl2pPr marL="371477" indent="0">
              <a:buNone/>
              <a:defRPr sz="885">
                <a:solidFill>
                  <a:srgbClr val="404040"/>
                </a:solidFill>
                <a:latin typeface="Garamond" panose="02020404030301010803" pitchFamily="18" charset="0"/>
              </a:defRPr>
            </a:lvl2pPr>
            <a:lvl3pPr marL="742955" indent="0">
              <a:buNone/>
              <a:defRPr sz="885">
                <a:solidFill>
                  <a:srgbClr val="404040"/>
                </a:solidFill>
                <a:latin typeface="Garamond" panose="02020404030301010803" pitchFamily="18" charset="0"/>
              </a:defRPr>
            </a:lvl3pPr>
            <a:lvl4pPr marL="1114432" indent="0">
              <a:buNone/>
              <a:defRPr sz="885">
                <a:solidFill>
                  <a:srgbClr val="404040"/>
                </a:solidFill>
                <a:latin typeface="Garamond" panose="02020404030301010803" pitchFamily="18" charset="0"/>
              </a:defRPr>
            </a:lvl4pPr>
            <a:lvl5pPr marL="1485910" indent="0">
              <a:buNone/>
              <a:defRPr sz="885">
                <a:solidFill>
                  <a:srgbClr val="404040"/>
                </a:solidFill>
                <a:latin typeface="Garamond" panose="02020404030301010803" pitchFamily="18" charset="0"/>
              </a:defRPr>
            </a:lvl5pPr>
            <a:lvl6pPr marL="1857387" indent="0">
              <a:buNone/>
              <a:defRPr sz="885"/>
            </a:lvl6pPr>
          </a:lstStyle>
          <a:p>
            <a:pPr lvl="0"/>
            <a:r>
              <a:rPr lang="en-US" dirty="0"/>
              <a:t>Main Text</a:t>
            </a:r>
          </a:p>
          <a:p>
            <a:pPr lvl="0"/>
            <a:endParaRPr lang="en-US" dirty="0"/>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1</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2</a:t>
            </a:r>
          </a:p>
          <a:p>
            <a:pPr marL="126376" lvl="0" indent="-126376" algn="l" defTabSz="674004" rtl="0" eaLnBrk="1" latinLnBrk="0" hangingPunct="1">
              <a:lnSpc>
                <a:spcPct val="100000"/>
              </a:lnSpc>
              <a:spcBef>
                <a:spcPts val="0"/>
              </a:spcBef>
              <a:spcAft>
                <a:spcPts val="221"/>
              </a:spcAft>
              <a:buClr>
                <a:srgbClr val="966E32"/>
              </a:buClr>
              <a:buFont typeface="Arial" panose="020B0604020202020204" pitchFamily="34" charset="0"/>
              <a:buChar char="•"/>
            </a:pPr>
            <a:r>
              <a:rPr lang="en-US" dirty="0"/>
              <a:t>Bullet 3</a:t>
            </a:r>
          </a:p>
          <a:p>
            <a:pPr lvl="0"/>
            <a:endParaRPr lang="en-US" dirty="0"/>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1</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2</a:t>
            </a:r>
          </a:p>
          <a:p>
            <a:pPr marL="168501" lvl="0" indent="-168501" algn="l" defTabSz="674004" rtl="0" eaLnBrk="1" latinLnBrk="0" hangingPunct="1">
              <a:lnSpc>
                <a:spcPct val="100000"/>
              </a:lnSpc>
              <a:spcBef>
                <a:spcPts val="0"/>
              </a:spcBef>
              <a:spcAft>
                <a:spcPts val="221"/>
              </a:spcAft>
              <a:buClr>
                <a:srgbClr val="966E32"/>
              </a:buClr>
              <a:buFont typeface="+mj-lt"/>
              <a:buAutoNum type="arabicPeriod"/>
            </a:pPr>
            <a:r>
              <a:rPr lang="en-US" dirty="0"/>
              <a:t>Number 3</a:t>
            </a:r>
          </a:p>
        </p:txBody>
      </p:sp>
      <p:sp>
        <p:nvSpPr>
          <p:cNvPr id="2" name="Title 1">
            <a:extLst>
              <a:ext uri="{FF2B5EF4-FFF2-40B4-BE49-F238E27FC236}">
                <a16:creationId xmlns:a16="http://schemas.microsoft.com/office/drawing/2014/main" xmlns="" id="{6CAE4521-86EB-4AE4-A8FE-E0363195EBB2}"/>
              </a:ext>
            </a:extLst>
          </p:cNvPr>
          <p:cNvSpPr>
            <a:spLocks noGrp="1"/>
          </p:cNvSpPr>
          <p:nvPr>
            <p:ph type="title" hasCustomPrompt="1"/>
          </p:nvPr>
        </p:nvSpPr>
        <p:spPr>
          <a:xfrm>
            <a:off x="516409" y="454872"/>
            <a:ext cx="8873181" cy="461010"/>
          </a:xfrm>
          <a:prstGeom prst="rect">
            <a:avLst/>
          </a:prstGeom>
        </p:spPr>
        <p:txBody>
          <a:bodyPr lIns="0"/>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dirty="0"/>
              <a:t>Page Title</a:t>
            </a:r>
            <a:endParaRPr lang="en-GB" dirty="0"/>
          </a:p>
        </p:txBody>
      </p:sp>
      <p:sp>
        <p:nvSpPr>
          <p:cNvPr id="6" name="Text Placeholder 6">
            <a:extLst>
              <a:ext uri="{FF2B5EF4-FFF2-40B4-BE49-F238E27FC236}">
                <a16:creationId xmlns:a16="http://schemas.microsoft.com/office/drawing/2014/main" xmlns="" id="{2113041F-BCFE-4E58-90A0-4F4446F5EF3D}"/>
              </a:ext>
            </a:extLst>
          </p:cNvPr>
          <p:cNvSpPr>
            <a:spLocks noGrp="1"/>
          </p:cNvSpPr>
          <p:nvPr>
            <p:ph type="body" sz="quarter" idx="17" hasCustomPrompt="1"/>
          </p:nvPr>
        </p:nvSpPr>
        <p:spPr>
          <a:xfrm>
            <a:off x="516408" y="915883"/>
            <a:ext cx="8873181" cy="287746"/>
          </a:xfrm>
          <a:prstGeom prst="rect">
            <a:avLst/>
          </a:prstGeom>
        </p:spPr>
        <p:txBody>
          <a:bodyPr lIns="0" tIns="0" rIns="0" bIns="0"/>
          <a:lstStyle>
            <a:lvl1pPr>
              <a:defRPr sz="1179">
                <a:solidFill>
                  <a:srgbClr val="404040"/>
                </a:solidFill>
                <a:latin typeface="Gill Sans Std Light" panose="020B0302020104020203" pitchFamily="34" charset="0"/>
              </a:defRPr>
            </a:lvl1pPr>
            <a:lvl2pPr>
              <a:defRPr sz="1179">
                <a:solidFill>
                  <a:srgbClr val="404040"/>
                </a:solidFill>
                <a:latin typeface="Gill Sans Std Light" panose="020B0302020104020203" pitchFamily="34" charset="0"/>
              </a:defRPr>
            </a:lvl2pPr>
            <a:lvl3pPr>
              <a:defRPr sz="1179">
                <a:solidFill>
                  <a:srgbClr val="404040"/>
                </a:solidFill>
                <a:latin typeface="Gill Sans Std Light" panose="020B0302020104020203" pitchFamily="34" charset="0"/>
              </a:defRPr>
            </a:lvl3pPr>
            <a:lvl4pPr>
              <a:defRPr sz="1179">
                <a:solidFill>
                  <a:srgbClr val="404040"/>
                </a:solidFill>
                <a:latin typeface="Gill Sans Std Light" panose="020B0302020104020203" pitchFamily="34" charset="0"/>
              </a:defRPr>
            </a:lvl4pPr>
            <a:lvl5pPr>
              <a:defRPr sz="1179">
                <a:solidFill>
                  <a:srgbClr val="404040"/>
                </a:solidFill>
                <a:latin typeface="Gill Sans Std Light" panose="020B0302020104020203" pitchFamily="34" charset="0"/>
              </a:defRPr>
            </a:lvl5pPr>
          </a:lstStyle>
          <a:p>
            <a:pPr lvl="0"/>
            <a:r>
              <a:rPr lang="en-US" dirty="0"/>
              <a:t>Insert Subheading if Required</a:t>
            </a:r>
            <a:endParaRPr lang="en-GB" dirty="0"/>
          </a:p>
        </p:txBody>
      </p:sp>
    </p:spTree>
    <p:extLst>
      <p:ext uri="{BB962C8B-B14F-4D97-AF65-F5344CB8AC3E}">
        <p14:creationId xmlns:p14="http://schemas.microsoft.com/office/powerpoint/2010/main" val="13343638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2.png"/><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image" Target="../media/image2.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4.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0602258"/>
      </p:ext>
    </p:extLst>
  </p:cSld>
  <p:clrMap bg1="lt1" tx1="dk1" bg2="lt2" tx2="dk2" accent1="accent1" accent2="accent2" accent3="accent3" accent4="accent4" accent5="accent5" accent6="accent6" hlink="hlink" folHlink="folHlink"/>
  <p:sldLayoutIdLst>
    <p:sldLayoutId id="2147483667" r:id="rId1"/>
    <p:sldLayoutId id="2147483669" r:id="rId2"/>
    <p:sldLayoutId id="2147483671" r:id="rId3"/>
    <p:sldLayoutId id="2147483672" r:id="rId4"/>
    <p:sldLayoutId id="2147483698" r:id="rId5"/>
    <p:sldLayoutId id="2147483699" r:id="rId6"/>
  </p:sldLayoutIdLst>
  <p:txStyles>
    <p:titleStyle>
      <a:lvl1pPr algn="l" defTabSz="742955"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9" indent="-185739" algn="l" defTabSz="742955" rtl="0" eaLnBrk="1" latinLnBrk="0" hangingPunct="1">
        <a:lnSpc>
          <a:spcPct val="90000"/>
        </a:lnSpc>
        <a:spcBef>
          <a:spcPts val="812"/>
        </a:spcBef>
        <a:buFont typeface="Arial" panose="020B0604020202020204" pitchFamily="34" charset="0"/>
        <a:buChar char="•"/>
        <a:defRPr sz="2275" kern="1200">
          <a:solidFill>
            <a:schemeClr val="tx1"/>
          </a:solidFill>
          <a:latin typeface="+mn-lt"/>
          <a:ea typeface="+mn-ea"/>
          <a:cs typeface="+mn-cs"/>
        </a:defRPr>
      </a:lvl1pPr>
      <a:lvl2pPr marL="557216" indent="-185739" algn="l" defTabSz="742955"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94" indent="-185739" algn="l" defTabSz="742955"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71"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4pPr>
      <a:lvl5pPr marL="1671648"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5pPr>
      <a:lvl6pPr marL="2043126"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603"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6081"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558"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55" rtl="0" eaLnBrk="1" latinLnBrk="0" hangingPunct="1">
        <a:defRPr sz="1462" kern="1200">
          <a:solidFill>
            <a:schemeClr val="tx1"/>
          </a:solidFill>
          <a:latin typeface="+mn-lt"/>
          <a:ea typeface="+mn-ea"/>
          <a:cs typeface="+mn-cs"/>
        </a:defRPr>
      </a:lvl1pPr>
      <a:lvl2pPr marL="371478" algn="l" defTabSz="742955" rtl="0" eaLnBrk="1" latinLnBrk="0" hangingPunct="1">
        <a:defRPr sz="1462" kern="1200">
          <a:solidFill>
            <a:schemeClr val="tx1"/>
          </a:solidFill>
          <a:latin typeface="+mn-lt"/>
          <a:ea typeface="+mn-ea"/>
          <a:cs typeface="+mn-cs"/>
        </a:defRPr>
      </a:lvl2pPr>
      <a:lvl3pPr marL="742955" algn="l" defTabSz="742955" rtl="0" eaLnBrk="1" latinLnBrk="0" hangingPunct="1">
        <a:defRPr sz="1462" kern="1200">
          <a:solidFill>
            <a:schemeClr val="tx1"/>
          </a:solidFill>
          <a:latin typeface="+mn-lt"/>
          <a:ea typeface="+mn-ea"/>
          <a:cs typeface="+mn-cs"/>
        </a:defRPr>
      </a:lvl3pPr>
      <a:lvl4pPr marL="1114433" algn="l" defTabSz="742955" rtl="0" eaLnBrk="1" latinLnBrk="0" hangingPunct="1">
        <a:defRPr sz="1462" kern="1200">
          <a:solidFill>
            <a:schemeClr val="tx1"/>
          </a:solidFill>
          <a:latin typeface="+mn-lt"/>
          <a:ea typeface="+mn-ea"/>
          <a:cs typeface="+mn-cs"/>
        </a:defRPr>
      </a:lvl4pPr>
      <a:lvl5pPr marL="1485910" algn="l" defTabSz="742955" rtl="0" eaLnBrk="1" latinLnBrk="0" hangingPunct="1">
        <a:defRPr sz="1462" kern="1200">
          <a:solidFill>
            <a:schemeClr val="tx1"/>
          </a:solidFill>
          <a:latin typeface="+mn-lt"/>
          <a:ea typeface="+mn-ea"/>
          <a:cs typeface="+mn-cs"/>
        </a:defRPr>
      </a:lvl5pPr>
      <a:lvl6pPr marL="1857387" algn="l" defTabSz="742955" rtl="0" eaLnBrk="1" latinLnBrk="0" hangingPunct="1">
        <a:defRPr sz="1462" kern="1200">
          <a:solidFill>
            <a:schemeClr val="tx1"/>
          </a:solidFill>
          <a:latin typeface="+mn-lt"/>
          <a:ea typeface="+mn-ea"/>
          <a:cs typeface="+mn-cs"/>
        </a:defRPr>
      </a:lvl6pPr>
      <a:lvl7pPr marL="2228864" algn="l" defTabSz="742955" rtl="0" eaLnBrk="1" latinLnBrk="0" hangingPunct="1">
        <a:defRPr sz="1462" kern="1200">
          <a:solidFill>
            <a:schemeClr val="tx1"/>
          </a:solidFill>
          <a:latin typeface="+mn-lt"/>
          <a:ea typeface="+mn-ea"/>
          <a:cs typeface="+mn-cs"/>
        </a:defRPr>
      </a:lvl7pPr>
      <a:lvl8pPr marL="2600342" algn="l" defTabSz="742955" rtl="0" eaLnBrk="1" latinLnBrk="0" hangingPunct="1">
        <a:defRPr sz="1462" kern="1200">
          <a:solidFill>
            <a:schemeClr val="tx1"/>
          </a:solidFill>
          <a:latin typeface="+mn-lt"/>
          <a:ea typeface="+mn-ea"/>
          <a:cs typeface="+mn-cs"/>
        </a:defRPr>
      </a:lvl8pPr>
      <a:lvl9pPr marL="2971819" algn="l" defTabSz="742955" rtl="0" eaLnBrk="1" latinLnBrk="0" hangingPunct="1">
        <a:defRPr sz="14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70FC5AD-E3FF-4267-8A57-22641BEB4E7A}"/>
              </a:ext>
            </a:extLst>
          </p:cNvPr>
          <p:cNvPicPr>
            <a:picLocks noChangeAspect="1"/>
          </p:cNvPicPr>
          <p:nvPr userDrawn="1"/>
        </p:nvPicPr>
        <p:blipFill>
          <a:blip r:embed="rId11"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697022" y="5854091"/>
            <a:ext cx="1070596" cy="827845"/>
          </a:xfrm>
          <a:prstGeom prst="rect">
            <a:avLst/>
          </a:prstGeom>
        </p:spPr>
      </p:pic>
    </p:spTree>
    <p:extLst>
      <p:ext uri="{BB962C8B-B14F-4D97-AF65-F5344CB8AC3E}">
        <p14:creationId xmlns:p14="http://schemas.microsoft.com/office/powerpoint/2010/main" val="4132922685"/>
      </p:ext>
    </p:extLst>
  </p:cSld>
  <p:clrMap bg1="lt1" tx1="dk1" bg2="lt2" tx2="dk2" accent1="accent1" accent2="accent2" accent3="accent3" accent4="accent4" accent5="accent5" accent6="accent6" hlink="hlink" folHlink="folHlink"/>
  <p:sldLayoutIdLst>
    <p:sldLayoutId id="2147483682" r:id="rId1"/>
    <p:sldLayoutId id="2147483710" r:id="rId2"/>
    <p:sldLayoutId id="2147483709" r:id="rId3"/>
    <p:sldLayoutId id="2147483711" r:id="rId4"/>
    <p:sldLayoutId id="2147483712" r:id="rId5"/>
    <p:sldLayoutId id="2147483713" r:id="rId6"/>
    <p:sldLayoutId id="2147483715" r:id="rId7"/>
    <p:sldLayoutId id="2147483717" r:id="rId8"/>
    <p:sldLayoutId id="2147483687" r:id="rId9"/>
  </p:sldLayoutIdLst>
  <p:txStyles>
    <p:titleStyle>
      <a:lvl1pPr marL="0" algn="l" defTabSz="337002" rtl="0" eaLnBrk="1" latinLnBrk="0" hangingPunct="1">
        <a:lnSpc>
          <a:spcPct val="90000"/>
        </a:lnSpc>
        <a:spcBef>
          <a:spcPct val="0"/>
        </a:spcBef>
        <a:buNone/>
        <a:defRPr lang="en-GB" sz="2359" kern="1200" dirty="0">
          <a:solidFill>
            <a:schemeClr val="tx2"/>
          </a:solidFill>
          <a:latin typeface="Gill Sans Std Light" panose="020B0302020104020203" pitchFamily="34" charset="0"/>
          <a:ea typeface="+mn-ea"/>
          <a:cs typeface="Arial" panose="020B0604020202020204" pitchFamily="34" charset="0"/>
        </a:defRPr>
      </a:lvl1pPr>
    </p:titleStyle>
    <p:bodyStyle>
      <a:lvl1pPr marL="0" indent="0" algn="l" defTabSz="674004" rtl="0" eaLnBrk="1" latinLnBrk="0" hangingPunct="1">
        <a:lnSpc>
          <a:spcPct val="100000"/>
        </a:lnSpc>
        <a:spcBef>
          <a:spcPts val="0"/>
        </a:spcBef>
        <a:spcAft>
          <a:spcPts val="221"/>
        </a:spcAft>
        <a:buClr>
          <a:schemeClr val="tx2"/>
        </a:buClr>
        <a:buFont typeface="+mj-lt"/>
        <a:buNone/>
        <a:defRPr lang="en-US" sz="885" kern="1200" dirty="0">
          <a:solidFill>
            <a:srgbClr val="4A4A4A"/>
          </a:solidFill>
          <a:latin typeface="Garamond" panose="02020404030301010803" pitchFamily="18" charset="0"/>
          <a:ea typeface="+mn-ea"/>
          <a:cs typeface="Arial" charset="0"/>
        </a:defRPr>
      </a:lvl1pPr>
      <a:lvl2pPr marL="557216" indent="-185739" algn="l" defTabSz="742955"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94" indent="-185739" algn="l" defTabSz="742955"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71"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4pPr>
      <a:lvl5pPr marL="1671648"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5pPr>
      <a:lvl6pPr marL="2043126"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603"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6081"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558" indent="-185739" algn="l" defTabSz="742955"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en-US"/>
      </a:defPPr>
      <a:lvl1pPr marL="0" algn="l" defTabSz="742955" rtl="0" eaLnBrk="1" latinLnBrk="0" hangingPunct="1">
        <a:defRPr sz="1462" kern="1200">
          <a:solidFill>
            <a:schemeClr val="tx1"/>
          </a:solidFill>
          <a:latin typeface="+mn-lt"/>
          <a:ea typeface="+mn-ea"/>
          <a:cs typeface="+mn-cs"/>
        </a:defRPr>
      </a:lvl1pPr>
      <a:lvl2pPr marL="371478" algn="l" defTabSz="742955" rtl="0" eaLnBrk="1" latinLnBrk="0" hangingPunct="1">
        <a:defRPr sz="1462" kern="1200">
          <a:solidFill>
            <a:schemeClr val="tx1"/>
          </a:solidFill>
          <a:latin typeface="+mn-lt"/>
          <a:ea typeface="+mn-ea"/>
          <a:cs typeface="+mn-cs"/>
        </a:defRPr>
      </a:lvl2pPr>
      <a:lvl3pPr marL="742955" algn="l" defTabSz="742955" rtl="0" eaLnBrk="1" latinLnBrk="0" hangingPunct="1">
        <a:defRPr sz="1462" kern="1200">
          <a:solidFill>
            <a:schemeClr val="tx1"/>
          </a:solidFill>
          <a:latin typeface="+mn-lt"/>
          <a:ea typeface="+mn-ea"/>
          <a:cs typeface="+mn-cs"/>
        </a:defRPr>
      </a:lvl3pPr>
      <a:lvl4pPr marL="1114433" algn="l" defTabSz="742955" rtl="0" eaLnBrk="1" latinLnBrk="0" hangingPunct="1">
        <a:defRPr sz="1462" kern="1200">
          <a:solidFill>
            <a:schemeClr val="tx1"/>
          </a:solidFill>
          <a:latin typeface="+mn-lt"/>
          <a:ea typeface="+mn-ea"/>
          <a:cs typeface="+mn-cs"/>
        </a:defRPr>
      </a:lvl4pPr>
      <a:lvl5pPr marL="1485910" algn="l" defTabSz="742955" rtl="0" eaLnBrk="1" latinLnBrk="0" hangingPunct="1">
        <a:defRPr sz="1462" kern="1200">
          <a:solidFill>
            <a:schemeClr val="tx1"/>
          </a:solidFill>
          <a:latin typeface="+mn-lt"/>
          <a:ea typeface="+mn-ea"/>
          <a:cs typeface="+mn-cs"/>
        </a:defRPr>
      </a:lvl5pPr>
      <a:lvl6pPr marL="1857387" algn="l" defTabSz="742955" rtl="0" eaLnBrk="1" latinLnBrk="0" hangingPunct="1">
        <a:defRPr sz="1462" kern="1200">
          <a:solidFill>
            <a:schemeClr val="tx1"/>
          </a:solidFill>
          <a:latin typeface="+mn-lt"/>
          <a:ea typeface="+mn-ea"/>
          <a:cs typeface="+mn-cs"/>
        </a:defRPr>
      </a:lvl6pPr>
      <a:lvl7pPr marL="2228864" algn="l" defTabSz="742955" rtl="0" eaLnBrk="1" latinLnBrk="0" hangingPunct="1">
        <a:defRPr sz="1462" kern="1200">
          <a:solidFill>
            <a:schemeClr val="tx1"/>
          </a:solidFill>
          <a:latin typeface="+mn-lt"/>
          <a:ea typeface="+mn-ea"/>
          <a:cs typeface="+mn-cs"/>
        </a:defRPr>
      </a:lvl7pPr>
      <a:lvl8pPr marL="2600342" algn="l" defTabSz="742955" rtl="0" eaLnBrk="1" latinLnBrk="0" hangingPunct="1">
        <a:defRPr sz="1462" kern="1200">
          <a:solidFill>
            <a:schemeClr val="tx1"/>
          </a:solidFill>
          <a:latin typeface="+mn-lt"/>
          <a:ea typeface="+mn-ea"/>
          <a:cs typeface="+mn-cs"/>
        </a:defRPr>
      </a:lvl8pPr>
      <a:lvl9pPr marL="2971819" algn="l" defTabSz="742955" rtl="0" eaLnBrk="1" latinLnBrk="0" hangingPunct="1">
        <a:defRPr sz="14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9/2022</a:t>
            </a:fld>
            <a:endParaRPr lang="en-US"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406934794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19" r:id="rId13"/>
    <p:sldLayoutId id="2147483721" r:id="rId14"/>
    <p:sldLayoutId id="2147483722" r:id="rId15"/>
    <p:sldLayoutId id="214748370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9/2022</a:t>
            </a:fld>
            <a:endParaRPr lang="en-US"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Picture 6">
            <a:extLst>
              <a:ext uri="{FF2B5EF4-FFF2-40B4-BE49-F238E27FC236}">
                <a16:creationId xmlns:a16="http://schemas.microsoft.com/office/drawing/2014/main" xmlns="" id="{B4B7A0B3-BB81-45CC-9D13-7F43FB8FCF5B}"/>
              </a:ext>
            </a:extLst>
          </p:cNvPr>
          <p:cNvPicPr>
            <a:picLocks noChangeAspect="1"/>
          </p:cNvPicPr>
          <p:nvPr userDrawn="1"/>
        </p:nvPicPr>
        <p:blipFill>
          <a:blip r:embed="rId16"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496728" y="5854091"/>
            <a:ext cx="1270890" cy="827845"/>
          </a:xfrm>
          <a:prstGeom prst="rect">
            <a:avLst/>
          </a:prstGeom>
        </p:spPr>
      </p:pic>
    </p:spTree>
    <p:extLst>
      <p:ext uri="{BB962C8B-B14F-4D97-AF65-F5344CB8AC3E}">
        <p14:creationId xmlns:p14="http://schemas.microsoft.com/office/powerpoint/2010/main" val="402627051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803" r:id="rId13"/>
    <p:sldLayoutId id="214748380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9/2022</a:t>
            </a:fld>
            <a:endParaRPr lang="en-US" dirty="0"/>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31536023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43.xml"/><Relationship Id="rId5" Type="http://schemas.openxmlformats.org/officeDocument/2006/relationships/image" Target="../media/image81.pn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5.xml"/><Relationship Id="rId4"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tags" Target="../tags/tag4.xml"/><Relationship Id="rId7" Type="http://schemas.openxmlformats.org/officeDocument/2006/relationships/image" Target="../media/image82.emf"/><Relationship Id="rId12" Type="http://schemas.openxmlformats.org/officeDocument/2006/relationships/image" Target="../media/image119.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87.png"/><Relationship Id="rId5" Type="http://schemas.openxmlformats.org/officeDocument/2006/relationships/notesSlide" Target="../notesSlides/notesSlide23.xml"/><Relationship Id="rId10" Type="http://schemas.openxmlformats.org/officeDocument/2006/relationships/image" Target="../media/image86.jpeg"/><Relationship Id="rId4" Type="http://schemas.openxmlformats.org/officeDocument/2006/relationships/slideLayout" Target="../slideLayouts/slideLayout45.xml"/><Relationship Id="rId9" Type="http://schemas.openxmlformats.org/officeDocument/2006/relationships/image" Target="../media/image85.jpeg"/></Relationships>
</file>

<file path=ppt/slides/_rels/slide2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4.xml"/><Relationship Id="rId1" Type="http://schemas.openxmlformats.org/officeDocument/2006/relationships/slideLayout" Target="../slideLayouts/slideLayout43.xml"/><Relationship Id="rId4" Type="http://schemas.openxmlformats.org/officeDocument/2006/relationships/image" Target="../media/image89.png"/></Relationships>
</file>

<file path=ppt/slides/_rels/slide27.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43.xml"/><Relationship Id="rId5" Type="http://schemas.openxmlformats.org/officeDocument/2006/relationships/image" Target="../media/image20.jpeg"/><Relationship Id="rId4" Type="http://schemas.openxmlformats.org/officeDocument/2006/relationships/image" Target="../media/image19.jpeg"/></Relationships>
</file>

<file path=ppt/slides/_rels/slide30.xml.rels><?xml version="1.0" encoding="UTF-8" standalone="yes"?>
<Relationships xmlns="http://schemas.openxmlformats.org/package/2006/relationships"><Relationship Id="rId8" Type="http://schemas.openxmlformats.org/officeDocument/2006/relationships/image" Target="../media/image129.svg"/><Relationship Id="rId13" Type="http://schemas.openxmlformats.org/officeDocument/2006/relationships/image" Target="../media/image9.png"/><Relationship Id="rId3" Type="http://schemas.openxmlformats.org/officeDocument/2006/relationships/image" Target="../media/image93.jpeg"/><Relationship Id="rId7" Type="http://schemas.openxmlformats.org/officeDocument/2006/relationships/image" Target="../media/image95.png"/><Relationship Id="rId12" Type="http://schemas.openxmlformats.org/officeDocument/2006/relationships/image" Target="../media/image98.png"/><Relationship Id="rId2" Type="http://schemas.openxmlformats.org/officeDocument/2006/relationships/notesSlide" Target="../notesSlides/notesSlide28.xml"/><Relationship Id="rId1" Type="http://schemas.openxmlformats.org/officeDocument/2006/relationships/slideLayout" Target="../slideLayouts/slideLayout57.xml"/><Relationship Id="rId6" Type="http://schemas.openxmlformats.org/officeDocument/2006/relationships/image" Target="../media/image127.svg"/><Relationship Id="rId11" Type="http://schemas.openxmlformats.org/officeDocument/2006/relationships/image" Target="../media/image97.png"/><Relationship Id="rId5" Type="http://schemas.openxmlformats.org/officeDocument/2006/relationships/image" Target="../media/image94.png"/><Relationship Id="rId10" Type="http://schemas.openxmlformats.org/officeDocument/2006/relationships/image" Target="../media/image131.svg"/><Relationship Id="rId4" Type="http://schemas.openxmlformats.org/officeDocument/2006/relationships/hyperlink" Target="http://www.chandlergovernmentindex.com/" TargetMode="External"/><Relationship Id="rId9" Type="http://schemas.openxmlformats.org/officeDocument/2006/relationships/image" Target="../media/image96.png"/><Relationship Id="rId14" Type="http://schemas.openxmlformats.org/officeDocument/2006/relationships/image" Target="../media/image10.sv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 Id="rId9" Type="http://schemas.openxmlformats.org/officeDocument/2006/relationships/image" Target="../media/image27.jpeg"/></Relationships>
</file>

<file path=ppt/slides/_rels/slide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43.xml"/><Relationship Id="rId6" Type="http://schemas.openxmlformats.org/officeDocument/2006/relationships/image" Target="../media/image31.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s>
</file>

<file path=ppt/slides/_rels/slide6.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46.jpeg"/><Relationship Id="rId3" Type="http://schemas.openxmlformats.org/officeDocument/2006/relationships/image" Target="../media/image36.png"/><Relationship Id="rId7" Type="http://schemas.openxmlformats.org/officeDocument/2006/relationships/image" Target="../media/image40.jpeg"/><Relationship Id="rId12" Type="http://schemas.openxmlformats.org/officeDocument/2006/relationships/image" Target="../media/image45.jpeg"/><Relationship Id="rId17" Type="http://schemas.openxmlformats.org/officeDocument/2006/relationships/image" Target="../media/image48.png"/><Relationship Id="rId2" Type="http://schemas.openxmlformats.org/officeDocument/2006/relationships/notesSlide" Target="../notesSlides/notesSlide6.xml"/><Relationship Id="rId16" Type="http://schemas.openxmlformats.org/officeDocument/2006/relationships/image" Target="../media/image10.svg"/><Relationship Id="rId1" Type="http://schemas.openxmlformats.org/officeDocument/2006/relationships/slideLayout" Target="../slideLayouts/slideLayout43.xml"/><Relationship Id="rId6" Type="http://schemas.openxmlformats.org/officeDocument/2006/relationships/image" Target="../media/image39.jpeg"/><Relationship Id="rId11" Type="http://schemas.openxmlformats.org/officeDocument/2006/relationships/image" Target="../media/image44.jpeg"/><Relationship Id="rId5" Type="http://schemas.openxmlformats.org/officeDocument/2006/relationships/image" Target="../media/image38.jpeg"/><Relationship Id="rId15" Type="http://schemas.openxmlformats.org/officeDocument/2006/relationships/image" Target="../media/image9.pn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7.jpe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3.xml"/><Relationship Id="rId4" Type="http://schemas.openxmlformats.org/officeDocument/2006/relationships/image" Target="../media/image10.svg"/></Relationships>
</file>

<file path=ppt/slides/_rels/slide8.xml.rels><?xml version="1.0" encoding="UTF-8" standalone="yes"?>
<Relationships xmlns="http://schemas.openxmlformats.org/package/2006/relationships"><Relationship Id="rId13" Type="http://schemas.openxmlformats.org/officeDocument/2006/relationships/image" Target="../media/image54.png"/><Relationship Id="rId18" Type="http://schemas.openxmlformats.org/officeDocument/2006/relationships/image" Target="../media/image65.svg"/><Relationship Id="rId26" Type="http://schemas.openxmlformats.org/officeDocument/2006/relationships/image" Target="../media/image73.svg"/><Relationship Id="rId39" Type="http://schemas.openxmlformats.org/officeDocument/2006/relationships/image" Target="../media/image67.png"/><Relationship Id="rId21" Type="http://schemas.openxmlformats.org/officeDocument/2006/relationships/image" Target="../media/image58.png"/><Relationship Id="rId34" Type="http://schemas.openxmlformats.org/officeDocument/2006/relationships/image" Target="../media/image81.svg"/><Relationship Id="rId42" Type="http://schemas.openxmlformats.org/officeDocument/2006/relationships/image" Target="../media/image89.svg"/><Relationship Id="rId47" Type="http://schemas.openxmlformats.org/officeDocument/2006/relationships/image" Target="../media/image71.png"/><Relationship Id="rId50" Type="http://schemas.openxmlformats.org/officeDocument/2006/relationships/image" Target="../media/image97.svg"/><Relationship Id="rId55" Type="http://schemas.openxmlformats.org/officeDocument/2006/relationships/image" Target="../media/image75.png"/><Relationship Id="rId7" Type="http://schemas.openxmlformats.org/officeDocument/2006/relationships/image" Target="../media/image51.png"/><Relationship Id="rId2" Type="http://schemas.openxmlformats.org/officeDocument/2006/relationships/notesSlide" Target="../notesSlides/notesSlide8.xml"/><Relationship Id="rId16" Type="http://schemas.openxmlformats.org/officeDocument/2006/relationships/image" Target="../media/image63.svg"/><Relationship Id="rId20" Type="http://schemas.openxmlformats.org/officeDocument/2006/relationships/image" Target="../media/image67.svg"/><Relationship Id="rId29" Type="http://schemas.openxmlformats.org/officeDocument/2006/relationships/image" Target="../media/image62.png"/><Relationship Id="rId41" Type="http://schemas.openxmlformats.org/officeDocument/2006/relationships/image" Target="../media/image68.png"/><Relationship Id="rId54" Type="http://schemas.openxmlformats.org/officeDocument/2006/relationships/image" Target="../media/image101.svg"/><Relationship Id="rId62" Type="http://schemas.openxmlformats.org/officeDocument/2006/relationships/image" Target="../media/image109.svg"/><Relationship Id="rId1" Type="http://schemas.openxmlformats.org/officeDocument/2006/relationships/slideLayout" Target="../slideLayouts/slideLayout43.xml"/><Relationship Id="rId6" Type="http://schemas.openxmlformats.org/officeDocument/2006/relationships/image" Target="../media/image53.svg"/><Relationship Id="rId11" Type="http://schemas.openxmlformats.org/officeDocument/2006/relationships/image" Target="../media/image53.png"/><Relationship Id="rId24" Type="http://schemas.openxmlformats.org/officeDocument/2006/relationships/image" Target="../media/image71.svg"/><Relationship Id="rId32" Type="http://schemas.openxmlformats.org/officeDocument/2006/relationships/image" Target="../media/image79.svg"/><Relationship Id="rId37" Type="http://schemas.openxmlformats.org/officeDocument/2006/relationships/image" Target="../media/image66.png"/><Relationship Id="rId40" Type="http://schemas.openxmlformats.org/officeDocument/2006/relationships/image" Target="../media/image87.svg"/><Relationship Id="rId45" Type="http://schemas.openxmlformats.org/officeDocument/2006/relationships/image" Target="../media/image70.png"/><Relationship Id="rId53" Type="http://schemas.openxmlformats.org/officeDocument/2006/relationships/image" Target="../media/image74.png"/><Relationship Id="rId58" Type="http://schemas.openxmlformats.org/officeDocument/2006/relationships/image" Target="../media/image105.svg"/><Relationship Id="rId5" Type="http://schemas.openxmlformats.org/officeDocument/2006/relationships/image" Target="../media/image50.png"/><Relationship Id="rId15" Type="http://schemas.openxmlformats.org/officeDocument/2006/relationships/image" Target="../media/image55.png"/><Relationship Id="rId23" Type="http://schemas.openxmlformats.org/officeDocument/2006/relationships/image" Target="../media/image59.png"/><Relationship Id="rId28" Type="http://schemas.openxmlformats.org/officeDocument/2006/relationships/image" Target="../media/image75.svg"/><Relationship Id="rId36" Type="http://schemas.openxmlformats.org/officeDocument/2006/relationships/image" Target="../media/image83.svg"/><Relationship Id="rId49" Type="http://schemas.openxmlformats.org/officeDocument/2006/relationships/image" Target="../media/image72.png"/><Relationship Id="rId57" Type="http://schemas.openxmlformats.org/officeDocument/2006/relationships/image" Target="../media/image76.png"/><Relationship Id="rId61" Type="http://schemas.openxmlformats.org/officeDocument/2006/relationships/image" Target="../media/image78.png"/><Relationship Id="rId10" Type="http://schemas.openxmlformats.org/officeDocument/2006/relationships/image" Target="../media/image57.svg"/><Relationship Id="rId19" Type="http://schemas.openxmlformats.org/officeDocument/2006/relationships/image" Target="../media/image57.png"/><Relationship Id="rId31" Type="http://schemas.openxmlformats.org/officeDocument/2006/relationships/image" Target="../media/image63.png"/><Relationship Id="rId44" Type="http://schemas.openxmlformats.org/officeDocument/2006/relationships/image" Target="../media/image91.svg"/><Relationship Id="rId52" Type="http://schemas.openxmlformats.org/officeDocument/2006/relationships/image" Target="../media/image99.svg"/><Relationship Id="rId60" Type="http://schemas.openxmlformats.org/officeDocument/2006/relationships/image" Target="../media/image107.svg"/><Relationship Id="rId4" Type="http://schemas.openxmlformats.org/officeDocument/2006/relationships/image" Target="../media/image51.svg"/><Relationship Id="rId9" Type="http://schemas.openxmlformats.org/officeDocument/2006/relationships/image" Target="../media/image52.png"/><Relationship Id="rId14" Type="http://schemas.openxmlformats.org/officeDocument/2006/relationships/image" Target="../media/image61.svg"/><Relationship Id="rId22" Type="http://schemas.openxmlformats.org/officeDocument/2006/relationships/image" Target="../media/image69.svg"/><Relationship Id="rId27" Type="http://schemas.openxmlformats.org/officeDocument/2006/relationships/image" Target="../media/image61.png"/><Relationship Id="rId30" Type="http://schemas.openxmlformats.org/officeDocument/2006/relationships/image" Target="../media/image77.svg"/><Relationship Id="rId35" Type="http://schemas.openxmlformats.org/officeDocument/2006/relationships/image" Target="../media/image65.png"/><Relationship Id="rId43" Type="http://schemas.openxmlformats.org/officeDocument/2006/relationships/image" Target="../media/image69.png"/><Relationship Id="rId48" Type="http://schemas.openxmlformats.org/officeDocument/2006/relationships/image" Target="../media/image95.svg"/><Relationship Id="rId56" Type="http://schemas.openxmlformats.org/officeDocument/2006/relationships/image" Target="../media/image103.svg"/><Relationship Id="rId8" Type="http://schemas.openxmlformats.org/officeDocument/2006/relationships/image" Target="../media/image55.svg"/><Relationship Id="rId51" Type="http://schemas.openxmlformats.org/officeDocument/2006/relationships/image" Target="../media/image73.png"/><Relationship Id="rId3" Type="http://schemas.openxmlformats.org/officeDocument/2006/relationships/image" Target="../media/image49.png"/><Relationship Id="rId12" Type="http://schemas.openxmlformats.org/officeDocument/2006/relationships/image" Target="../media/image59.svg"/><Relationship Id="rId17" Type="http://schemas.openxmlformats.org/officeDocument/2006/relationships/image" Target="../media/image56.png"/><Relationship Id="rId25" Type="http://schemas.openxmlformats.org/officeDocument/2006/relationships/image" Target="../media/image60.png"/><Relationship Id="rId33" Type="http://schemas.openxmlformats.org/officeDocument/2006/relationships/image" Target="../media/image64.png"/><Relationship Id="rId38" Type="http://schemas.openxmlformats.org/officeDocument/2006/relationships/image" Target="../media/image85.svg"/><Relationship Id="rId46" Type="http://schemas.openxmlformats.org/officeDocument/2006/relationships/image" Target="../media/image93.svg"/><Relationship Id="rId59" Type="http://schemas.openxmlformats.org/officeDocument/2006/relationships/image" Target="../media/image7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A46550C9-0746-4988-BE1E-B7681D06B42C}"/>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28004" y="0"/>
            <a:ext cx="9934004" cy="6858000"/>
          </a:xfrm>
          <a:prstGeom prst="rect">
            <a:avLst/>
          </a:prstGeom>
        </p:spPr>
      </p:pic>
      <p:sp>
        <p:nvSpPr>
          <p:cNvPr id="3" name="Rectangle 2">
            <a:extLst>
              <a:ext uri="{FF2B5EF4-FFF2-40B4-BE49-F238E27FC236}">
                <a16:creationId xmlns:a16="http://schemas.microsoft.com/office/drawing/2014/main" xmlns="" id="{BFE1F1D0-240E-49F6-9454-517386B84686}"/>
              </a:ext>
            </a:extLst>
          </p:cNvPr>
          <p:cNvSpPr/>
          <p:nvPr/>
        </p:nvSpPr>
        <p:spPr>
          <a:xfrm>
            <a:off x="-37725" y="4442527"/>
            <a:ext cx="9943726" cy="2415473"/>
          </a:xfrm>
          <a:prstGeom prst="rect">
            <a:avLst/>
          </a:prstGeom>
          <a:gradFill flip="none" rotWithShape="1">
            <a:gsLst>
              <a:gs pos="0">
                <a:srgbClr val="36516E"/>
              </a:gs>
              <a:gs pos="100000">
                <a:srgbClr val="4B6F97">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1" name="Rectangle 10">
            <a:extLst>
              <a:ext uri="{FF2B5EF4-FFF2-40B4-BE49-F238E27FC236}">
                <a16:creationId xmlns:a16="http://schemas.microsoft.com/office/drawing/2014/main" xmlns="" id="{C6AC7A7E-CD56-44CB-B0B4-BD687268A3D4}"/>
              </a:ext>
            </a:extLst>
          </p:cNvPr>
          <p:cNvSpPr/>
          <p:nvPr/>
        </p:nvSpPr>
        <p:spPr>
          <a:xfrm flipV="1">
            <a:off x="-28003" y="-2"/>
            <a:ext cx="9934003" cy="3252999"/>
          </a:xfrm>
          <a:prstGeom prst="rect">
            <a:avLst/>
          </a:prstGeom>
          <a:gradFill flip="none" rotWithShape="1">
            <a:gsLst>
              <a:gs pos="0">
                <a:schemeClr val="bg1"/>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grpSp>
        <p:nvGrpSpPr>
          <p:cNvPr id="2" name="Group 1">
            <a:extLst>
              <a:ext uri="{FF2B5EF4-FFF2-40B4-BE49-F238E27FC236}">
                <a16:creationId xmlns:a16="http://schemas.microsoft.com/office/drawing/2014/main" xmlns="" id="{62288FC9-57C5-416B-BE19-45DB4980FF62}"/>
              </a:ext>
            </a:extLst>
          </p:cNvPr>
          <p:cNvGrpSpPr/>
          <p:nvPr/>
        </p:nvGrpSpPr>
        <p:grpSpPr>
          <a:xfrm>
            <a:off x="3333154" y="857756"/>
            <a:ext cx="3239692" cy="1916999"/>
            <a:chOff x="3657599" y="1033707"/>
            <a:chExt cx="3376613" cy="1998018"/>
          </a:xfrm>
        </p:grpSpPr>
        <p:pic>
          <p:nvPicPr>
            <p:cNvPr id="10" name="Picture 9">
              <a:extLst>
                <a:ext uri="{FF2B5EF4-FFF2-40B4-BE49-F238E27FC236}">
                  <a16:creationId xmlns:a16="http://schemas.microsoft.com/office/drawing/2014/main" xmlns="" id="{95D8ED0C-3F9C-4A34-881D-D46EB5ABDF2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657599" y="2031914"/>
              <a:ext cx="3376613" cy="999811"/>
            </a:xfrm>
            <a:prstGeom prst="rect">
              <a:avLst/>
            </a:prstGeom>
          </p:spPr>
        </p:pic>
        <p:pic>
          <p:nvPicPr>
            <p:cNvPr id="6" name="Graphic 5">
              <a:extLst>
                <a:ext uri="{FF2B5EF4-FFF2-40B4-BE49-F238E27FC236}">
                  <a16:creationId xmlns:a16="http://schemas.microsoft.com/office/drawing/2014/main" xmlns="" id="{DE41FBD0-B117-4B13-AAC5-CB789CA67164}"/>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rcRect l="33427" t="4865" r="33586" b="48547"/>
            <a:stretch/>
          </p:blipFill>
          <p:spPr>
            <a:xfrm>
              <a:off x="4810124" y="1033707"/>
              <a:ext cx="1138235" cy="998208"/>
            </a:xfrm>
            <a:prstGeom prst="rect">
              <a:avLst/>
            </a:prstGeom>
            <a:effectLst>
              <a:glow rad="38100">
                <a:schemeClr val="bg1">
                  <a:alpha val="28000"/>
                </a:schemeClr>
              </a:glow>
            </a:effectLst>
          </p:spPr>
        </p:pic>
      </p:grpSp>
    </p:spTree>
    <p:extLst>
      <p:ext uri="{BB962C8B-B14F-4D97-AF65-F5344CB8AC3E}">
        <p14:creationId xmlns:p14="http://schemas.microsoft.com/office/powerpoint/2010/main" val="1570437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xmlns="" id="{23F98328-7B21-4055-9408-3DB615B6D56E}"/>
              </a:ext>
            </a:extLst>
          </p:cNvPr>
          <p:cNvGraphicFramePr>
            <a:graphicFrameLocks/>
          </p:cNvGraphicFramePr>
          <p:nvPr>
            <p:extLst>
              <p:ext uri="{D42A27DB-BD31-4B8C-83A1-F6EECF244321}">
                <p14:modId xmlns:p14="http://schemas.microsoft.com/office/powerpoint/2010/main" val="1929895225"/>
              </p:ext>
            </p:extLst>
          </p:nvPr>
        </p:nvGraphicFramePr>
        <p:xfrm>
          <a:off x="516409" y="1231271"/>
          <a:ext cx="8873180" cy="4617268"/>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2">
            <a:extLst>
              <a:ext uri="{FF2B5EF4-FFF2-40B4-BE49-F238E27FC236}">
                <a16:creationId xmlns:a16="http://schemas.microsoft.com/office/drawing/2014/main" xmlns="" id="{AD6CFA72-F8B0-414D-B2C1-10DA57CA9EDC}"/>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Good Governments are Less Corrupt</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40039963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607850" y="2821686"/>
            <a:ext cx="8873181" cy="1484500"/>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pPr algn="ctr"/>
            <a:r>
              <a:rPr lang="en-GB" sz="3200" dirty="0">
                <a:latin typeface="Futura PT Book" panose="020B0502020204020303" pitchFamily="34" charset="0"/>
              </a:rPr>
              <a:t>Why Government Capabilities Matter </a:t>
            </a:r>
            <a:br>
              <a:rPr lang="en-GB" sz="3200" dirty="0">
                <a:latin typeface="Futura PT Book" panose="020B0502020204020303" pitchFamily="34" charset="0"/>
              </a:rPr>
            </a:br>
            <a:r>
              <a:rPr lang="en-GB" sz="3200" dirty="0">
                <a:latin typeface="Futura PT Book" panose="020B0502020204020303" pitchFamily="34" charset="0"/>
              </a:rPr>
              <a:t>in the Fight against Corruption</a:t>
            </a:r>
            <a:endParaRPr lang="en-US" sz="32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7376506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xmlns="" id="{AD6CFA72-F8B0-414D-B2C1-10DA57CA9EDC}"/>
              </a:ext>
            </a:extLst>
          </p:cNvPr>
          <p:cNvSpPr txBox="1">
            <a:spLocks/>
          </p:cNvSpPr>
          <p:nvPr/>
        </p:nvSpPr>
        <p:spPr>
          <a:xfrm>
            <a:off x="516409" y="444246"/>
            <a:ext cx="8873181" cy="607314"/>
          </a:xfrm>
          <a:prstGeom prst="rect">
            <a:avLst/>
          </a:prstGeom>
        </p:spPr>
        <p:txBody>
          <a:bodyPr vert="horz" lIns="0" tIns="45720" rIns="91440" bIns="45720" rtlCol="0" anchor="ctr">
            <a:normAutofit fontScale="92500"/>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Capabilities Most Closely Correlated with Good Governance</a:t>
            </a:r>
          </a:p>
        </p:txBody>
      </p:sp>
      <p:pic>
        <p:nvPicPr>
          <p:cNvPr id="16" name="Picture 15">
            <a:extLst>
              <a:ext uri="{FF2B5EF4-FFF2-40B4-BE49-F238E27FC236}">
                <a16:creationId xmlns:a16="http://schemas.microsoft.com/office/drawing/2014/main" xmlns="" id="{620F48A0-B56A-754F-5D62-4310E7CA4A35}"/>
              </a:ext>
            </a:extLst>
          </p:cNvPr>
          <p:cNvPicPr>
            <a:picLocks noChangeAspect="1"/>
          </p:cNvPicPr>
          <p:nvPr/>
        </p:nvPicPr>
        <p:blipFill>
          <a:blip r:embed="rId3"/>
          <a:stretch>
            <a:fillRect/>
          </a:stretch>
        </p:blipFill>
        <p:spPr>
          <a:xfrm>
            <a:off x="630708" y="4499675"/>
            <a:ext cx="5136927" cy="1545371"/>
          </a:xfrm>
          <a:prstGeom prst="rect">
            <a:avLst/>
          </a:prstGeom>
        </p:spPr>
      </p:pic>
      <p:pic>
        <p:nvPicPr>
          <p:cNvPr id="19" name="Picture 18">
            <a:extLst>
              <a:ext uri="{FF2B5EF4-FFF2-40B4-BE49-F238E27FC236}">
                <a16:creationId xmlns:a16="http://schemas.microsoft.com/office/drawing/2014/main" xmlns="" id="{11FB5186-4F93-E177-E76B-0970DBF76F34}"/>
              </a:ext>
            </a:extLst>
          </p:cNvPr>
          <p:cNvPicPr>
            <a:picLocks noChangeAspect="1"/>
          </p:cNvPicPr>
          <p:nvPr/>
        </p:nvPicPr>
        <p:blipFill>
          <a:blip r:embed="rId4"/>
          <a:stretch>
            <a:fillRect/>
          </a:stretch>
        </p:blipFill>
        <p:spPr>
          <a:xfrm>
            <a:off x="601845" y="2698786"/>
            <a:ext cx="5392434" cy="1907430"/>
          </a:xfrm>
          <a:prstGeom prst="rect">
            <a:avLst/>
          </a:prstGeom>
        </p:spPr>
      </p:pic>
      <p:pic>
        <p:nvPicPr>
          <p:cNvPr id="20" name="Picture 19">
            <a:extLst>
              <a:ext uri="{FF2B5EF4-FFF2-40B4-BE49-F238E27FC236}">
                <a16:creationId xmlns:a16="http://schemas.microsoft.com/office/drawing/2014/main" xmlns="" id="{B0E0A2AF-CA0A-C4CB-A984-8A5C4E3EE8D5}"/>
              </a:ext>
            </a:extLst>
          </p:cNvPr>
          <p:cNvPicPr>
            <a:picLocks noChangeAspect="1"/>
          </p:cNvPicPr>
          <p:nvPr/>
        </p:nvPicPr>
        <p:blipFill>
          <a:blip r:embed="rId5"/>
          <a:stretch>
            <a:fillRect/>
          </a:stretch>
        </p:blipFill>
        <p:spPr>
          <a:xfrm>
            <a:off x="630708" y="1485899"/>
            <a:ext cx="5359913" cy="1366550"/>
          </a:xfrm>
          <a:prstGeom prst="rect">
            <a:avLst/>
          </a:prstGeom>
        </p:spPr>
      </p:pic>
    </p:spTree>
    <p:extLst>
      <p:ext uri="{BB962C8B-B14F-4D97-AF65-F5344CB8AC3E}">
        <p14:creationId xmlns:p14="http://schemas.microsoft.com/office/powerpoint/2010/main" val="16404325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607850" y="2821686"/>
            <a:ext cx="8873181" cy="1270254"/>
          </a:xfrm>
          <a:prstGeom prst="rect">
            <a:avLst/>
          </a:prstGeom>
        </p:spPr>
        <p:txBody>
          <a:bodyPr vert="horz" lIns="0" tIns="45720" rIns="91440" bIns="45720" rtlCol="0" anchor="ctr">
            <a:normAutofit lnSpcReduction="10000"/>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pPr algn="ctr"/>
            <a:r>
              <a:rPr lang="en-GB" sz="3200" dirty="0">
                <a:latin typeface="Futura PT Book" panose="020B0502020204020303" pitchFamily="34" charset="0"/>
              </a:rPr>
              <a:t>Anti-Corruption capabilities are vital for a government to be effective and achieve good outcomes</a:t>
            </a:r>
            <a:endParaRPr lang="en-US" sz="32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8982306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xmlns="" id="{6148AB5C-4A1F-4FD1-9BCB-D9EE0F8C0731}"/>
              </a:ext>
            </a:extLst>
          </p:cNvPr>
          <p:cNvGraphicFramePr>
            <a:graphicFrameLocks/>
          </p:cNvGraphicFramePr>
          <p:nvPr>
            <p:extLst>
              <p:ext uri="{D42A27DB-BD31-4B8C-83A1-F6EECF244321}">
                <p14:modId xmlns:p14="http://schemas.microsoft.com/office/powerpoint/2010/main" val="1192288582"/>
              </p:ext>
            </p:extLst>
          </p:nvPr>
        </p:nvGraphicFramePr>
        <p:xfrm>
          <a:off x="516409" y="1231271"/>
          <a:ext cx="8873181" cy="4617268"/>
        </p:xfrm>
        <a:graphic>
          <a:graphicData uri="http://schemas.openxmlformats.org/drawingml/2006/chart">
            <c:chart xmlns:c="http://schemas.openxmlformats.org/drawingml/2006/chart" xmlns:r="http://schemas.openxmlformats.org/officeDocument/2006/relationships" r:id="rId3"/>
          </a:graphicData>
        </a:graphic>
      </p:graphicFrame>
      <p:sp>
        <p:nvSpPr>
          <p:cNvPr id="10" name="Title 2">
            <a:extLst>
              <a:ext uri="{FF2B5EF4-FFF2-40B4-BE49-F238E27FC236}">
                <a16:creationId xmlns:a16="http://schemas.microsoft.com/office/drawing/2014/main" xmlns="" id="{3C999778-6043-425B-A76D-31EBB87A56F9}"/>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Anti-Corruption is Closely Linked with Helping People Rise</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19050139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05029" y="1440"/>
          <a:ext cx="1441" cy="1441"/>
        </p:xfrm>
        <a:graphic>
          <a:graphicData uri="http://schemas.openxmlformats.org/presentationml/2006/ole">
            <mc:AlternateContent xmlns:mc="http://schemas.openxmlformats.org/markup-compatibility/2006">
              <mc:Choice xmlns:v="urn:schemas-microsoft-com:vml" Requires="v">
                <p:oleObj spid="_x0000_s8200"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05029" y="1440"/>
                        <a:ext cx="1441" cy="1441"/>
                      </a:xfrm>
                      <a:prstGeom prst="rect">
                        <a:avLst/>
                      </a:prstGeom>
                    </p:spPr>
                  </p:pic>
                </p:oleObj>
              </mc:Fallback>
            </mc:AlternateContent>
          </a:graphicData>
        </a:graphic>
      </p:graphicFrame>
      <p:sp>
        <p:nvSpPr>
          <p:cNvPr id="2" name="Rectangle 1" hidden="1"/>
          <p:cNvSpPr/>
          <p:nvPr>
            <p:custDataLst>
              <p:tags r:id="rId3"/>
            </p:custDataLst>
          </p:nvPr>
        </p:nvSpPr>
        <p:spPr>
          <a:xfrm>
            <a:off x="103589" y="1"/>
            <a:ext cx="143985" cy="143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902">
              <a:latin typeface="Gill Sans Std Light" panose="020B0302020104020203" pitchFamily="34" charset="0"/>
              <a:ea typeface="华文中宋" panose="02010600040101010101"/>
              <a:sym typeface="Gill Sans Std Light" panose="020B0302020104020203" pitchFamily="34" charset="0"/>
            </a:endParaRPr>
          </a:p>
        </p:txBody>
      </p:sp>
      <p:sp>
        <p:nvSpPr>
          <p:cNvPr id="20" name="Title 2">
            <a:extLst>
              <a:ext uri="{FF2B5EF4-FFF2-40B4-BE49-F238E27FC236}">
                <a16:creationId xmlns:a16="http://schemas.microsoft.com/office/drawing/2014/main" xmlns="" id="{7FAC364B-0330-1341-A63B-EE2D8609C8AF}"/>
              </a:ext>
            </a:extLst>
          </p:cNvPr>
          <p:cNvSpPr txBox="1">
            <a:spLocks/>
          </p:cNvSpPr>
          <p:nvPr/>
        </p:nvSpPr>
        <p:spPr>
          <a:xfrm>
            <a:off x="737993" y="1955266"/>
            <a:ext cx="7663057" cy="1508023"/>
          </a:xfrm>
        </p:spPr>
        <p:txBody>
          <a:bodyPr/>
          <a:lstStyle>
            <a:lvl1pPr marL="0" algn="l" defTabSz="457200" rtl="0" eaLnBrk="1" latinLnBrk="0" hangingPunct="1">
              <a:lnSpc>
                <a:spcPct val="90000"/>
              </a:lnSpc>
              <a:spcBef>
                <a:spcPct val="0"/>
              </a:spcBef>
              <a:buNone/>
              <a:defRPr lang="en-GB" sz="3200" kern="1200" dirty="0">
                <a:solidFill>
                  <a:schemeClr val="tx2"/>
                </a:solidFill>
                <a:latin typeface="Gill Sans Std Light" panose="020B0302020104020203" pitchFamily="34" charset="0"/>
                <a:ea typeface="+mn-ea"/>
                <a:cs typeface="Arial" panose="020B0604020202020204" pitchFamily="34" charset="0"/>
              </a:defRPr>
            </a:lvl1pPr>
          </a:lstStyle>
          <a:p>
            <a:pPr defTabSz="794663">
              <a:lnSpc>
                <a:spcPct val="100000"/>
              </a:lnSpc>
              <a:spcBef>
                <a:spcPts val="0"/>
              </a:spcBef>
              <a:defRPr/>
            </a:pPr>
            <a:r>
              <a:rPr lang="en-US" dirty="0">
                <a:latin typeface="Gill Sans Std Light"/>
              </a:rPr>
              <a:t>In the 2021 Transparency International Corruption Perceptions Index, the top 30 countries are </a:t>
            </a:r>
            <a:r>
              <a:rPr lang="en-US" u="sng" dirty="0">
                <a:latin typeface="Gill Sans MT Std Medium" panose="020B0502020104020203" pitchFamily="34" charset="0"/>
              </a:rPr>
              <a:t>all</a:t>
            </a:r>
            <a:r>
              <a:rPr lang="en-US" dirty="0">
                <a:latin typeface="Gill Sans Std Light"/>
              </a:rPr>
              <a:t> high-income countries. </a:t>
            </a:r>
          </a:p>
          <a:p>
            <a:pPr defTabSz="794663">
              <a:lnSpc>
                <a:spcPct val="100000"/>
              </a:lnSpc>
              <a:spcBef>
                <a:spcPts val="0"/>
              </a:spcBef>
              <a:defRPr/>
            </a:pPr>
            <a:endParaRPr lang="en-US" dirty="0">
              <a:latin typeface="Gill Sans Std Light"/>
            </a:endParaRPr>
          </a:p>
          <a:p>
            <a:pPr defTabSz="794663">
              <a:lnSpc>
                <a:spcPct val="100000"/>
              </a:lnSpc>
              <a:spcBef>
                <a:spcPts val="0"/>
              </a:spcBef>
              <a:defRPr/>
            </a:pPr>
            <a:r>
              <a:rPr lang="en-US" dirty="0">
                <a:latin typeface="Gill Sans Std Light"/>
              </a:rPr>
              <a:t>But in the bottom 40,</a:t>
            </a:r>
            <a:endParaRPr lang="en-GB" dirty="0">
              <a:latin typeface="Gill Sans Std Light"/>
            </a:endParaRPr>
          </a:p>
          <a:p>
            <a:pPr defTabSz="794663">
              <a:lnSpc>
                <a:spcPct val="100000"/>
              </a:lnSpc>
              <a:spcBef>
                <a:spcPts val="0"/>
              </a:spcBef>
              <a:defRPr/>
            </a:pPr>
            <a:endParaRPr lang="en-SG" dirty="0">
              <a:latin typeface="Gill Sans Std Light"/>
            </a:endParaRPr>
          </a:p>
        </p:txBody>
      </p:sp>
      <p:sp>
        <p:nvSpPr>
          <p:cNvPr id="34" name="Title 6">
            <a:extLst>
              <a:ext uri="{FF2B5EF4-FFF2-40B4-BE49-F238E27FC236}">
                <a16:creationId xmlns:a16="http://schemas.microsoft.com/office/drawing/2014/main" xmlns="" id="{9DA4F6D0-F5E4-8C45-9D49-4754489D884A}"/>
              </a:ext>
            </a:extLst>
          </p:cNvPr>
          <p:cNvSpPr txBox="1">
            <a:spLocks/>
          </p:cNvSpPr>
          <p:nvPr/>
        </p:nvSpPr>
        <p:spPr>
          <a:xfrm>
            <a:off x="737993" y="4427593"/>
            <a:ext cx="8215175" cy="1088917"/>
          </a:xfrm>
        </p:spPr>
        <p:txBody>
          <a:bodyPr lIns="82953" tIns="41476" rIns="82953" bIns="41476" anchor="t"/>
          <a:lstStyle>
            <a:lvl1pPr marL="0" algn="l" defTabSz="457200" rtl="0" eaLnBrk="1" latinLnBrk="0" hangingPunct="1">
              <a:lnSpc>
                <a:spcPct val="90000"/>
              </a:lnSpc>
              <a:spcBef>
                <a:spcPct val="0"/>
              </a:spcBef>
              <a:buNone/>
              <a:defRPr lang="en-GB" sz="3200" kern="1200" dirty="0">
                <a:solidFill>
                  <a:schemeClr val="tx2"/>
                </a:solidFill>
                <a:latin typeface="Gill Sans Std Light" panose="020B0302020104020203" pitchFamily="34" charset="0"/>
                <a:ea typeface="+mn-ea"/>
                <a:cs typeface="Arial" panose="020B0604020202020204" pitchFamily="34" charset="0"/>
              </a:defRPr>
            </a:lvl1pPr>
          </a:lstStyle>
          <a:p>
            <a:pPr defTabSz="794663"/>
            <a:r>
              <a:rPr lang="en-US" altLang="zh-CN" dirty="0">
                <a:solidFill>
                  <a:srgbClr val="966E32"/>
                </a:solidFill>
                <a:latin typeface="Gill Sans MT" panose="020B0502020104020203" pitchFamily="34" charset="0"/>
                <a:cs typeface="Garamond" pitchFamily="18" charset="0"/>
              </a:rPr>
              <a:t>none are high-income countries.</a:t>
            </a:r>
          </a:p>
        </p:txBody>
      </p:sp>
      <p:sp>
        <p:nvSpPr>
          <p:cNvPr id="40" name="Title 2">
            <a:extLst>
              <a:ext uri="{FF2B5EF4-FFF2-40B4-BE49-F238E27FC236}">
                <a16:creationId xmlns:a16="http://schemas.microsoft.com/office/drawing/2014/main" xmlns="" id="{4F9696D2-DC89-DCDA-A696-7836E5F3432B}"/>
              </a:ext>
            </a:extLst>
          </p:cNvPr>
          <p:cNvSpPr txBox="1">
            <a:spLocks/>
          </p:cNvSpPr>
          <p:nvPr/>
        </p:nvSpPr>
        <p:spPr>
          <a:xfrm>
            <a:off x="737993" y="383648"/>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800" dirty="0">
                <a:latin typeface="Futura PT Book" panose="020B0502020204020303" pitchFamily="34" charset="0"/>
                <a:cs typeface="Poppins Light" panose="00000400000000000000" pitchFamily="2" charset="0"/>
              </a:rPr>
              <a:t>Low Corruption Enables Countries to Prosper</a:t>
            </a:r>
            <a:endParaRPr lang="en-US" sz="28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6941583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xmlns="" id="{872AF209-0BBF-4722-890E-E3689774E9DC}"/>
              </a:ext>
            </a:extLst>
          </p:cNvPr>
          <p:cNvGraphicFramePr>
            <a:graphicFrameLocks noGrp="1"/>
          </p:cNvGraphicFramePr>
          <p:nvPr>
            <p:ph sz="quarter" idx="15"/>
            <p:extLst>
              <p:ext uri="{D42A27DB-BD31-4B8C-83A1-F6EECF244321}">
                <p14:modId xmlns:p14="http://schemas.microsoft.com/office/powerpoint/2010/main" val="3184609774"/>
              </p:ext>
            </p:extLst>
          </p:nvPr>
        </p:nvGraphicFramePr>
        <p:xfrm>
          <a:off x="516410" y="1051965"/>
          <a:ext cx="8873181" cy="4954748"/>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xmlns="" id="{CB349D8C-F1C3-498D-91A2-5D41AE0A00DE}"/>
              </a:ext>
            </a:extLst>
          </p:cNvPr>
          <p:cNvSpPr txBox="1"/>
          <p:nvPr/>
        </p:nvSpPr>
        <p:spPr>
          <a:xfrm>
            <a:off x="8216914" y="4863716"/>
            <a:ext cx="1111935" cy="568874"/>
          </a:xfrm>
          <a:prstGeom prst="rect">
            <a:avLst/>
          </a:prstGeom>
          <a:noFill/>
        </p:spPr>
        <p:txBody>
          <a:bodyPr wrap="square" rtlCol="0">
            <a:spAutoFit/>
          </a:bodyPr>
          <a:lstStyle/>
          <a:p>
            <a:r>
              <a:rPr lang="en-US" sz="774" dirty="0">
                <a:solidFill>
                  <a:srgbClr val="1B2253"/>
                </a:solidFill>
                <a:latin typeface="Gill Sans MT Std Medium"/>
              </a:rPr>
              <a:t>High Income</a:t>
            </a:r>
          </a:p>
          <a:p>
            <a:r>
              <a:rPr lang="en-US" sz="774" dirty="0">
                <a:solidFill>
                  <a:srgbClr val="BA1D85"/>
                </a:solidFill>
                <a:latin typeface="Gill Sans MT Std Medium"/>
              </a:rPr>
              <a:t>Upper-middle Income</a:t>
            </a:r>
          </a:p>
          <a:p>
            <a:r>
              <a:rPr lang="en-US" sz="774" dirty="0">
                <a:solidFill>
                  <a:srgbClr val="238D43"/>
                </a:solidFill>
                <a:latin typeface="Gill Sans MT Std Medium"/>
              </a:rPr>
              <a:t>Lower-middle Income</a:t>
            </a:r>
          </a:p>
          <a:p>
            <a:r>
              <a:rPr lang="en-US" sz="774" dirty="0">
                <a:solidFill>
                  <a:srgbClr val="EF8E23"/>
                </a:solidFill>
                <a:latin typeface="Gill Sans MT Std Medium"/>
              </a:rPr>
              <a:t>Low Income</a:t>
            </a:r>
          </a:p>
        </p:txBody>
      </p:sp>
      <p:sp>
        <p:nvSpPr>
          <p:cNvPr id="13" name="Rectangle 12">
            <a:extLst>
              <a:ext uri="{FF2B5EF4-FFF2-40B4-BE49-F238E27FC236}">
                <a16:creationId xmlns:a16="http://schemas.microsoft.com/office/drawing/2014/main" xmlns="" id="{C3D9FBDE-0A0E-42CA-A6B4-F9E2A9DA1560}"/>
              </a:ext>
            </a:extLst>
          </p:cNvPr>
          <p:cNvSpPr/>
          <p:nvPr/>
        </p:nvSpPr>
        <p:spPr>
          <a:xfrm>
            <a:off x="516409" y="1761706"/>
            <a:ext cx="2558991" cy="432619"/>
          </a:xfrm>
          <a:prstGeom prst="rect">
            <a:avLst/>
          </a:prstGeom>
        </p:spPr>
        <p:txBody>
          <a:bodyPr wrap="square">
            <a:spAutoFit/>
          </a:bodyPr>
          <a:lstStyle/>
          <a:p>
            <a:r>
              <a:rPr lang="en-SG" sz="737" b="1" dirty="0">
                <a:solidFill>
                  <a:srgbClr val="000000"/>
                </a:solidFill>
                <a:latin typeface="Gill Sans Std Light" panose="020B0302020104020203" pitchFamily="34" charset="0"/>
              </a:rPr>
              <a:t>Intercepts </a:t>
            </a:r>
            <a:endParaRPr lang="en-SG" sz="737" dirty="0">
              <a:solidFill>
                <a:srgbClr val="000000"/>
              </a:solidFill>
              <a:latin typeface="Gill Sans Std Light" panose="020B0302020104020203" pitchFamily="34" charset="0"/>
            </a:endParaRPr>
          </a:p>
          <a:p>
            <a:r>
              <a:rPr lang="en-SG" sz="737" dirty="0">
                <a:solidFill>
                  <a:srgbClr val="000000"/>
                </a:solidFill>
                <a:latin typeface="Gill Sans Std Light" panose="020B0302020104020203" pitchFamily="34" charset="0"/>
              </a:rPr>
              <a:t>X-intercept: Overall Index Capabilities Average Score (0.524) </a:t>
            </a:r>
          </a:p>
          <a:p>
            <a:r>
              <a:rPr lang="en-SG" sz="737" dirty="0">
                <a:solidFill>
                  <a:srgbClr val="000000"/>
                </a:solidFill>
                <a:latin typeface="Gill Sans Std Light" panose="020B0302020104020203" pitchFamily="34" charset="0"/>
              </a:rPr>
              <a:t>Y-intercept: Overall Index Outcomes Average Score (0.579) </a:t>
            </a:r>
            <a:endParaRPr lang="en-SG" sz="737" dirty="0">
              <a:latin typeface="Gill Sans Std Light" panose="020B0302020104020203" pitchFamily="34" charset="0"/>
            </a:endParaRPr>
          </a:p>
        </p:txBody>
      </p:sp>
      <p:sp>
        <p:nvSpPr>
          <p:cNvPr id="6" name="Title 2">
            <a:extLst>
              <a:ext uri="{FF2B5EF4-FFF2-40B4-BE49-F238E27FC236}">
                <a16:creationId xmlns:a16="http://schemas.microsoft.com/office/drawing/2014/main" xmlns="" id="{3E9F3DAB-1181-4279-AFD9-F9CDCB3E5623}"/>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Good Governments Tend to Have Higher Income Levels </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723163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xmlns="" id="{AD6CFA72-F8B0-414D-B2C1-10DA57CA9EDC}"/>
              </a:ext>
            </a:extLst>
          </p:cNvPr>
          <p:cNvSpPr txBox="1">
            <a:spLocks/>
          </p:cNvSpPr>
          <p:nvPr/>
        </p:nvSpPr>
        <p:spPr>
          <a:xfrm>
            <a:off x="516409" y="267272"/>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Good Governments are Better Prepared for Pandemics</a:t>
            </a:r>
          </a:p>
        </p:txBody>
      </p:sp>
      <p:grpSp>
        <p:nvGrpSpPr>
          <p:cNvPr id="6" name="Group 5">
            <a:extLst>
              <a:ext uri="{FF2B5EF4-FFF2-40B4-BE49-F238E27FC236}">
                <a16:creationId xmlns:a16="http://schemas.microsoft.com/office/drawing/2014/main" xmlns="" id="{EFBDC557-99FB-846D-4E6D-F0A6E976872A}"/>
              </a:ext>
            </a:extLst>
          </p:cNvPr>
          <p:cNvGrpSpPr/>
          <p:nvPr/>
        </p:nvGrpSpPr>
        <p:grpSpPr>
          <a:xfrm>
            <a:off x="867279" y="1229915"/>
            <a:ext cx="7702560" cy="5285445"/>
            <a:chOff x="516409" y="1143000"/>
            <a:chExt cx="7182879" cy="4663440"/>
          </a:xfrm>
        </p:grpSpPr>
        <p:pic>
          <p:nvPicPr>
            <p:cNvPr id="2" name="Picture 1">
              <a:extLst>
                <a:ext uri="{FF2B5EF4-FFF2-40B4-BE49-F238E27FC236}">
                  <a16:creationId xmlns:a16="http://schemas.microsoft.com/office/drawing/2014/main" xmlns="" id="{4B8A6D00-A44A-6BC5-FB19-E03D381EB900}"/>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16409" y="1366551"/>
              <a:ext cx="7182879" cy="4348449"/>
            </a:xfrm>
            <a:prstGeom prst="rect">
              <a:avLst/>
            </a:prstGeom>
          </p:spPr>
        </p:pic>
        <p:sp>
          <p:nvSpPr>
            <p:cNvPr id="3" name="Rectangle 2">
              <a:extLst>
                <a:ext uri="{FF2B5EF4-FFF2-40B4-BE49-F238E27FC236}">
                  <a16:creationId xmlns:a16="http://schemas.microsoft.com/office/drawing/2014/main" xmlns="" id="{9B90132D-9F1D-B419-2141-66C907F613C6}"/>
                </a:ext>
              </a:extLst>
            </p:cNvPr>
            <p:cNvSpPr/>
            <p:nvPr/>
          </p:nvSpPr>
          <p:spPr>
            <a:xfrm>
              <a:off x="516409" y="1143000"/>
              <a:ext cx="7182879" cy="4663440"/>
            </a:xfrm>
            <a:prstGeom prst="rect">
              <a:avLst/>
            </a:prstGeom>
            <a:noFill/>
            <a:ln w="12700">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extBox 6">
            <a:extLst>
              <a:ext uri="{FF2B5EF4-FFF2-40B4-BE49-F238E27FC236}">
                <a16:creationId xmlns:a16="http://schemas.microsoft.com/office/drawing/2014/main" xmlns="" id="{B65F6579-819A-4F25-9927-03790B848B6C}"/>
              </a:ext>
            </a:extLst>
          </p:cNvPr>
          <p:cNvSpPr txBox="1"/>
          <p:nvPr/>
        </p:nvSpPr>
        <p:spPr>
          <a:xfrm>
            <a:off x="378185" y="878295"/>
            <a:ext cx="8697767" cy="299206"/>
          </a:xfrm>
          <a:prstGeom prst="rect">
            <a:avLst/>
          </a:prstGeom>
          <a:solidFill>
            <a:srgbClr val="C59C66"/>
          </a:solidFill>
          <a:ln>
            <a:noFill/>
          </a:ln>
        </p:spPr>
        <p:txBody>
          <a:bodyPr wrap="square" lIns="32659" tIns="41476" rIns="32659" bIns="41476" numCol="1" spcCol="457200" rtlCol="0" anchor="t">
            <a:spAutoFit/>
          </a:bodyPr>
          <a:lstStyle/>
          <a:p>
            <a:pPr algn="ctr" defTabSz="946260">
              <a:spcAft>
                <a:spcPts val="907"/>
              </a:spcAft>
              <a:defRPr/>
            </a:pPr>
            <a:r>
              <a:rPr lang="en-US" sz="1400" dirty="0">
                <a:solidFill>
                  <a:schemeClr val="bg1"/>
                </a:solidFill>
                <a:latin typeface="Gill Sans Std Light" panose="020B0302020104020203" pitchFamily="34" charset="0"/>
              </a:rPr>
              <a:t>Good governance explains the difference in pandemic preparedness between countries better than GDP per capita.</a:t>
            </a:r>
            <a:endParaRPr lang="en-GB" sz="1400" dirty="0">
              <a:solidFill>
                <a:schemeClr val="bg1"/>
              </a:solidFill>
              <a:latin typeface="Gill Sans Std Light" panose="020B0302020104020203" pitchFamily="34" charset="0"/>
            </a:endParaRPr>
          </a:p>
        </p:txBody>
      </p:sp>
    </p:spTree>
    <p:extLst>
      <p:ext uri="{BB962C8B-B14F-4D97-AF65-F5344CB8AC3E}">
        <p14:creationId xmlns:p14="http://schemas.microsoft.com/office/powerpoint/2010/main" val="34380861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607850" y="2821686"/>
            <a:ext cx="8873181" cy="127025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pPr algn="ctr"/>
            <a:r>
              <a:rPr lang="en-GB" sz="3200" dirty="0">
                <a:latin typeface="Futura PT Book" panose="020B0502020204020303" pitchFamily="34" charset="0"/>
              </a:rPr>
              <a:t>Anti-Corruption is closely correlated with other important public sector capabilities</a:t>
            </a:r>
            <a:endParaRPr lang="en-US" sz="32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4684351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xmlns="" id="{020B38B4-9ECE-4A1B-A620-7D47FF79FF7E}"/>
              </a:ext>
            </a:extLst>
          </p:cNvPr>
          <p:cNvGraphicFramePr>
            <a:graphicFrameLocks/>
          </p:cNvGraphicFramePr>
          <p:nvPr>
            <p:extLst>
              <p:ext uri="{D42A27DB-BD31-4B8C-83A1-F6EECF244321}">
                <p14:modId xmlns:p14="http://schemas.microsoft.com/office/powerpoint/2010/main" val="2016076819"/>
              </p:ext>
            </p:extLst>
          </p:nvPr>
        </p:nvGraphicFramePr>
        <p:xfrm>
          <a:off x="516410" y="1228149"/>
          <a:ext cx="8873181" cy="4617268"/>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2">
            <a:extLst>
              <a:ext uri="{FF2B5EF4-FFF2-40B4-BE49-F238E27FC236}">
                <a16:creationId xmlns:a16="http://schemas.microsoft.com/office/drawing/2014/main" xmlns="" id="{19E59EBB-7AA3-4B4C-A0A3-FF3B0FA52A58}"/>
              </a:ext>
            </a:extLst>
          </p:cNvPr>
          <p:cNvSpPr txBox="1">
            <a:spLocks/>
          </p:cNvSpPr>
          <p:nvPr/>
        </p:nvSpPr>
        <p:spPr>
          <a:xfrm>
            <a:off x="516410" y="511689"/>
            <a:ext cx="8873181" cy="607314"/>
          </a:xfrm>
          <a:prstGeom prst="rect">
            <a:avLst/>
          </a:prstGeom>
        </p:spPr>
        <p:txBody>
          <a:bodyPr vert="horz" lIns="0" tIns="45720" rIns="91440" bIns="45720" rtlCol="0" anchor="ctr">
            <a:normAutofit fontScale="92500"/>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Less Corrupt Governments Have Better Property Rights Protection</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230407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E0081DD4-E2F0-4346-8CAC-26A60D88BE3E}"/>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669"/>
          <a:stretch/>
        </p:blipFill>
        <p:spPr>
          <a:xfrm>
            <a:off x="3315604" y="4570651"/>
            <a:ext cx="3322003" cy="2305185"/>
          </a:xfrm>
          <a:prstGeom prst="rect">
            <a:avLst/>
          </a:prstGeom>
        </p:spPr>
      </p:pic>
      <p:pic>
        <p:nvPicPr>
          <p:cNvPr id="15" name="Picture 14">
            <a:extLst>
              <a:ext uri="{FF2B5EF4-FFF2-40B4-BE49-F238E27FC236}">
                <a16:creationId xmlns:a16="http://schemas.microsoft.com/office/drawing/2014/main" xmlns="" id="{52F3E6EF-4FCF-4CCF-865C-C7BFD21C0B6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647020" y="4538583"/>
            <a:ext cx="3268032" cy="2337253"/>
          </a:xfrm>
          <a:prstGeom prst="rect">
            <a:avLst/>
          </a:prstGeom>
        </p:spPr>
      </p:pic>
      <p:pic>
        <p:nvPicPr>
          <p:cNvPr id="11" name="Picture 10">
            <a:extLst>
              <a:ext uri="{FF2B5EF4-FFF2-40B4-BE49-F238E27FC236}">
                <a16:creationId xmlns:a16="http://schemas.microsoft.com/office/drawing/2014/main" xmlns="" id="{C73D2A77-FE17-4FF0-B345-58666ADAE31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6633049" y="2293537"/>
            <a:ext cx="3278257" cy="2274008"/>
          </a:xfrm>
          <a:prstGeom prst="rect">
            <a:avLst/>
          </a:prstGeom>
        </p:spPr>
      </p:pic>
      <p:sp>
        <p:nvSpPr>
          <p:cNvPr id="3" name="Title 2">
            <a:extLst>
              <a:ext uri="{FF2B5EF4-FFF2-40B4-BE49-F238E27FC236}">
                <a16:creationId xmlns:a16="http://schemas.microsoft.com/office/drawing/2014/main" xmlns="" id="{33A2021B-30BE-421D-8CC8-E75FAF92E52E}"/>
              </a:ext>
            </a:extLst>
          </p:cNvPr>
          <p:cNvSpPr>
            <a:spLocks noGrp="1"/>
          </p:cNvSpPr>
          <p:nvPr>
            <p:ph type="title"/>
          </p:nvPr>
        </p:nvSpPr>
        <p:spPr>
          <a:xfrm>
            <a:off x="3419361" y="3309950"/>
            <a:ext cx="3114488" cy="374745"/>
          </a:xfrm>
        </p:spPr>
        <p:txBody>
          <a:bodyPr>
            <a:noAutofit/>
          </a:bodyPr>
          <a:lstStyle/>
          <a:p>
            <a:pPr algn="ctr"/>
            <a:r>
              <a:rPr lang="en-US" sz="3600" dirty="0">
                <a:latin typeface="Futura PT Book" panose="020B0502020204020303" pitchFamily="34" charset="0"/>
                <a:cs typeface="Poppins" panose="00000500000000000000" pitchFamily="2" charset="0"/>
              </a:rPr>
              <a:t>What is good government?</a:t>
            </a:r>
          </a:p>
        </p:txBody>
      </p:sp>
      <p:pic>
        <p:nvPicPr>
          <p:cNvPr id="12" name="Picture 11">
            <a:extLst>
              <a:ext uri="{FF2B5EF4-FFF2-40B4-BE49-F238E27FC236}">
                <a16:creationId xmlns:a16="http://schemas.microsoft.com/office/drawing/2014/main" xmlns="" id="{DADD51EF-33BE-4472-B503-B068B951654F}"/>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38"/>
          <a:stretch/>
        </p:blipFill>
        <p:spPr>
          <a:xfrm>
            <a:off x="-9190" y="2266168"/>
            <a:ext cx="3331375" cy="2293194"/>
          </a:xfrm>
          <a:prstGeom prst="rect">
            <a:avLst/>
          </a:prstGeom>
        </p:spPr>
      </p:pic>
      <p:pic>
        <p:nvPicPr>
          <p:cNvPr id="8" name="Picture 7">
            <a:extLst>
              <a:ext uri="{FF2B5EF4-FFF2-40B4-BE49-F238E27FC236}">
                <a16:creationId xmlns:a16="http://schemas.microsoft.com/office/drawing/2014/main" xmlns="" id="{7082E44F-46A8-4561-A93A-C69869F7F086}"/>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3763" y="4565696"/>
            <a:ext cx="3291141" cy="2292303"/>
          </a:xfrm>
          <a:prstGeom prst="rect">
            <a:avLst/>
          </a:prstGeom>
        </p:spPr>
      </p:pic>
      <p:pic>
        <p:nvPicPr>
          <p:cNvPr id="16" name="Picture 15">
            <a:extLst>
              <a:ext uri="{FF2B5EF4-FFF2-40B4-BE49-F238E27FC236}">
                <a16:creationId xmlns:a16="http://schemas.microsoft.com/office/drawing/2014/main" xmlns="" id="{70037A31-B241-4A50-BFEB-301AE9B1EC3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649811" y="-4654"/>
            <a:ext cx="3250877" cy="2290205"/>
          </a:xfrm>
          <a:prstGeom prst="rect">
            <a:avLst/>
          </a:prstGeom>
        </p:spPr>
      </p:pic>
      <p:pic>
        <p:nvPicPr>
          <p:cNvPr id="20" name="Picture 19">
            <a:extLst>
              <a:ext uri="{FF2B5EF4-FFF2-40B4-BE49-F238E27FC236}">
                <a16:creationId xmlns:a16="http://schemas.microsoft.com/office/drawing/2014/main" xmlns="" id="{4C1EF880-AEA7-421C-B2E8-482AE6BE4E1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257986" y="7198"/>
            <a:ext cx="3375063" cy="2258970"/>
          </a:xfrm>
          <a:prstGeom prst="rect">
            <a:avLst/>
          </a:prstGeom>
        </p:spPr>
      </p:pic>
      <p:pic>
        <p:nvPicPr>
          <p:cNvPr id="18" name="Picture 17">
            <a:extLst>
              <a:ext uri="{FF2B5EF4-FFF2-40B4-BE49-F238E27FC236}">
                <a16:creationId xmlns:a16="http://schemas.microsoft.com/office/drawing/2014/main" xmlns="" id="{3BF3CAB1-1C2B-4C44-B42C-B727FE499CDB}"/>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2416" y="-12640"/>
            <a:ext cx="3316375" cy="2295457"/>
          </a:xfrm>
          <a:prstGeom prst="rect">
            <a:avLst/>
          </a:prstGeom>
        </p:spPr>
      </p:pic>
      <p:sp>
        <p:nvSpPr>
          <p:cNvPr id="44" name="Rectangle 43">
            <a:extLst>
              <a:ext uri="{FF2B5EF4-FFF2-40B4-BE49-F238E27FC236}">
                <a16:creationId xmlns:a16="http://schemas.microsoft.com/office/drawing/2014/main" xmlns="" id="{9F52D4E7-E4B6-4F07-B3E0-2356EA157C81}"/>
              </a:ext>
            </a:extLst>
          </p:cNvPr>
          <p:cNvSpPr/>
          <p:nvPr/>
        </p:nvSpPr>
        <p:spPr>
          <a:xfrm>
            <a:off x="3288449" y="-12641"/>
            <a:ext cx="45719" cy="6888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45" name="Rectangle 44">
            <a:extLst>
              <a:ext uri="{FF2B5EF4-FFF2-40B4-BE49-F238E27FC236}">
                <a16:creationId xmlns:a16="http://schemas.microsoft.com/office/drawing/2014/main" xmlns="" id="{5C7AE909-F206-4E68-B9B6-FE2E5F5CBE08}"/>
              </a:ext>
            </a:extLst>
          </p:cNvPr>
          <p:cNvSpPr/>
          <p:nvPr/>
        </p:nvSpPr>
        <p:spPr>
          <a:xfrm flipH="1">
            <a:off x="-9190" y="4557030"/>
            <a:ext cx="9900689" cy="33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0" name="Rectangle 29">
            <a:extLst>
              <a:ext uri="{FF2B5EF4-FFF2-40B4-BE49-F238E27FC236}">
                <a16:creationId xmlns:a16="http://schemas.microsoft.com/office/drawing/2014/main" xmlns="" id="{0B9887DC-C499-4B83-9AA4-661FACA81F29}"/>
              </a:ext>
            </a:extLst>
          </p:cNvPr>
          <p:cNvSpPr/>
          <p:nvPr/>
        </p:nvSpPr>
        <p:spPr>
          <a:xfrm flipH="1">
            <a:off x="-9190" y="2250406"/>
            <a:ext cx="9900689" cy="33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1" name="Rectangle 30">
            <a:extLst>
              <a:ext uri="{FF2B5EF4-FFF2-40B4-BE49-F238E27FC236}">
                <a16:creationId xmlns:a16="http://schemas.microsoft.com/office/drawing/2014/main" xmlns="" id="{45E26AE2-653E-44F2-81E3-1F918D4820EC}"/>
              </a:ext>
            </a:extLst>
          </p:cNvPr>
          <p:cNvSpPr/>
          <p:nvPr/>
        </p:nvSpPr>
        <p:spPr>
          <a:xfrm>
            <a:off x="6609710" y="-12641"/>
            <a:ext cx="45719" cy="6888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Tree>
    <p:extLst>
      <p:ext uri="{BB962C8B-B14F-4D97-AF65-F5344CB8AC3E}">
        <p14:creationId xmlns:p14="http://schemas.microsoft.com/office/powerpoint/2010/main" val="1511202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xmlns="" id="{4E2B6E6D-39F9-4E85-8EF3-16D722E40257}"/>
              </a:ext>
            </a:extLst>
          </p:cNvPr>
          <p:cNvGraphicFramePr>
            <a:graphicFrameLocks/>
          </p:cNvGraphicFramePr>
          <p:nvPr>
            <p:extLst>
              <p:ext uri="{D42A27DB-BD31-4B8C-83A1-F6EECF244321}">
                <p14:modId xmlns:p14="http://schemas.microsoft.com/office/powerpoint/2010/main" val="1875326541"/>
              </p:ext>
            </p:extLst>
          </p:nvPr>
        </p:nvGraphicFramePr>
        <p:xfrm>
          <a:off x="516409" y="1228150"/>
          <a:ext cx="8873180" cy="461726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2">
            <a:extLst>
              <a:ext uri="{FF2B5EF4-FFF2-40B4-BE49-F238E27FC236}">
                <a16:creationId xmlns:a16="http://schemas.microsoft.com/office/drawing/2014/main" xmlns="" id="{6A61C9B3-9A28-4595-A2CA-1A50A03E3B2D}"/>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Anti-Corruption is Closely Linked with Robust Laws &amp; Policie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79826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xmlns="" id="{C54CE7D8-5E08-4FE6-94E4-6863D7A39389}"/>
              </a:ext>
            </a:extLst>
          </p:cNvPr>
          <p:cNvGraphicFramePr>
            <a:graphicFrameLocks/>
          </p:cNvGraphicFramePr>
          <p:nvPr>
            <p:extLst>
              <p:ext uri="{D42A27DB-BD31-4B8C-83A1-F6EECF244321}">
                <p14:modId xmlns:p14="http://schemas.microsoft.com/office/powerpoint/2010/main" val="840047041"/>
              </p:ext>
            </p:extLst>
          </p:nvPr>
        </p:nvGraphicFramePr>
        <p:xfrm>
          <a:off x="516410" y="1228150"/>
          <a:ext cx="8873181" cy="4617268"/>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2">
            <a:extLst>
              <a:ext uri="{FF2B5EF4-FFF2-40B4-BE49-F238E27FC236}">
                <a16:creationId xmlns:a16="http://schemas.microsoft.com/office/drawing/2014/main" xmlns="" id="{097C1BE1-9F06-4BE8-9E93-043CFFFA1E55}"/>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Less Corrupt Governments Have Stronger Rule of Law</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551020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B8213521-9BD3-45CD-A053-553B1E93F8A7}"/>
              </a:ext>
            </a:extLst>
          </p:cNvPr>
          <p:cNvSpPr/>
          <p:nvPr/>
        </p:nvSpPr>
        <p:spPr>
          <a:xfrm>
            <a:off x="9025379" y="5368148"/>
            <a:ext cx="468851" cy="374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aphicFrame>
        <p:nvGraphicFramePr>
          <p:cNvPr id="6" name="Content Placeholder 5">
            <a:extLst>
              <a:ext uri="{FF2B5EF4-FFF2-40B4-BE49-F238E27FC236}">
                <a16:creationId xmlns:a16="http://schemas.microsoft.com/office/drawing/2014/main" xmlns="" id="{E6650ECE-3381-40A7-9586-17E3B7FB77FF}"/>
              </a:ext>
            </a:extLst>
          </p:cNvPr>
          <p:cNvGraphicFramePr>
            <a:graphicFrameLocks noGrp="1"/>
          </p:cNvGraphicFramePr>
          <p:nvPr>
            <p:ph sz="quarter" idx="15"/>
            <p:extLst>
              <p:ext uri="{D42A27DB-BD31-4B8C-83A1-F6EECF244321}">
                <p14:modId xmlns:p14="http://schemas.microsoft.com/office/powerpoint/2010/main" val="1772370224"/>
              </p:ext>
            </p:extLst>
          </p:nvPr>
        </p:nvGraphicFramePr>
        <p:xfrm>
          <a:off x="516011" y="1231271"/>
          <a:ext cx="8873979" cy="4617268"/>
        </p:xfrm>
        <a:graphic>
          <a:graphicData uri="http://schemas.openxmlformats.org/drawingml/2006/chart">
            <c:chart xmlns:c="http://schemas.openxmlformats.org/drawingml/2006/chart" xmlns:r="http://schemas.openxmlformats.org/officeDocument/2006/relationships" r:id="rId2"/>
          </a:graphicData>
        </a:graphic>
      </p:graphicFrame>
      <p:sp>
        <p:nvSpPr>
          <p:cNvPr id="13" name="Title 2">
            <a:extLst>
              <a:ext uri="{FF2B5EF4-FFF2-40B4-BE49-F238E27FC236}">
                <a16:creationId xmlns:a16="http://schemas.microsoft.com/office/drawing/2014/main" xmlns="" id="{0EFEDB16-CD4E-4C4C-93FB-A6DE4385C7C3}"/>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Anti-Corruption is Closely Linked with Quality of Judiciary</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296169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xmlns="" id="{A98986C0-80B3-41A2-AA65-A25B155ECAE4}"/>
              </a:ext>
            </a:extLst>
          </p:cNvPr>
          <p:cNvGraphicFramePr>
            <a:graphicFrameLocks/>
          </p:cNvGraphicFramePr>
          <p:nvPr>
            <p:extLst>
              <p:ext uri="{D42A27DB-BD31-4B8C-83A1-F6EECF244321}">
                <p14:modId xmlns:p14="http://schemas.microsoft.com/office/powerpoint/2010/main" val="1765952915"/>
              </p:ext>
            </p:extLst>
          </p:nvPr>
        </p:nvGraphicFramePr>
        <p:xfrm>
          <a:off x="516409" y="1231271"/>
          <a:ext cx="8873180" cy="4617267"/>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 2">
            <a:extLst>
              <a:ext uri="{FF2B5EF4-FFF2-40B4-BE49-F238E27FC236}">
                <a16:creationId xmlns:a16="http://schemas.microsoft.com/office/drawing/2014/main" xmlns="" id="{6E1BE982-822D-4F53-B98B-B4F01758ABA1}"/>
              </a:ext>
            </a:extLst>
          </p:cNvPr>
          <p:cNvSpPr txBox="1">
            <a:spLocks/>
          </p:cNvSpPr>
          <p:nvPr/>
        </p:nvSpPr>
        <p:spPr>
          <a:xfrm>
            <a:off x="516410" y="511689"/>
            <a:ext cx="8999730"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cs typeface="Poppins Light" panose="00000400000000000000" pitchFamily="2" charset="0"/>
              </a:rPr>
              <a:t>Less Corrupt Countries Have More Effective Public Institution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861711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607850" y="2821686"/>
            <a:ext cx="8873181" cy="1270254"/>
          </a:xfrm>
          <a:prstGeom prst="rect">
            <a:avLst/>
          </a:prstGeom>
        </p:spPr>
        <p:txBody>
          <a:bodyPr vert="horz" lIns="0" tIns="45720" rIns="91440" bIns="45720" rtlCol="0" anchor="ctr">
            <a:normAutofit lnSpcReduction="10000"/>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pPr algn="ctr"/>
            <a:r>
              <a:rPr lang="en-GB" sz="3200" dirty="0">
                <a:latin typeface="Futura PT Book" panose="020B0502020204020303" pitchFamily="34" charset="0"/>
              </a:rPr>
              <a:t>Governments need to invest in developing good capabilities in anti-corruption and other areas</a:t>
            </a:r>
            <a:endParaRPr lang="en-US" sz="32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806400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6A87B77A-07D2-4375-818E-ABA633DEAC20}"/>
              </a:ext>
            </a:extLst>
          </p:cNvPr>
          <p:cNvSpPr/>
          <p:nvPr/>
        </p:nvSpPr>
        <p:spPr>
          <a:xfrm>
            <a:off x="0" y="4687846"/>
            <a:ext cx="9905999" cy="2170155"/>
          </a:xfrm>
          <a:prstGeom prst="rect">
            <a:avLst/>
          </a:prstGeom>
          <a:solidFill>
            <a:srgbClr val="FAF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304"/>
          </a:p>
        </p:txBody>
      </p:sp>
      <p:sp>
        <p:nvSpPr>
          <p:cNvPr id="9" name="Rectangle: Rounded Corners 8">
            <a:extLst>
              <a:ext uri="{FF2B5EF4-FFF2-40B4-BE49-F238E27FC236}">
                <a16:creationId xmlns:a16="http://schemas.microsoft.com/office/drawing/2014/main" xmlns="" id="{DCFBB771-496C-4F9A-8BC3-3261598AF580}"/>
              </a:ext>
            </a:extLst>
          </p:cNvPr>
          <p:cNvSpPr/>
          <p:nvPr/>
        </p:nvSpPr>
        <p:spPr>
          <a:xfrm>
            <a:off x="1196160" y="965201"/>
            <a:ext cx="2327754" cy="3386995"/>
          </a:xfrm>
          <a:prstGeom prst="roundRect">
            <a:avLst>
              <a:gd name="adj" fmla="val 539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304"/>
          </a:p>
        </p:txBody>
      </p:sp>
      <p:graphicFrame>
        <p:nvGraphicFramePr>
          <p:cNvPr id="6" name="Object 5" hidden="1"/>
          <p:cNvGraphicFramePr>
            <a:graphicFrameLocks noChangeAspect="1"/>
          </p:cNvGraphicFramePr>
          <p:nvPr>
            <p:custDataLst>
              <p:tags r:id="rId2"/>
            </p:custDataLst>
          </p:nvPr>
        </p:nvGraphicFramePr>
        <p:xfrm>
          <a:off x="105029" y="1440"/>
          <a:ext cx="1441" cy="1441"/>
        </p:xfrm>
        <a:graphic>
          <a:graphicData uri="http://schemas.openxmlformats.org/presentationml/2006/ole">
            <mc:AlternateContent xmlns:mc="http://schemas.openxmlformats.org/markup-compatibility/2006">
              <mc:Choice xmlns:v="urn:schemas-microsoft-com:vml" Requires="v">
                <p:oleObj spid="_x0000_s6155" name="think-cell Slide" r:id="rId6" imgW="592" imgH="595" progId="TCLayout.ActiveDocument.1">
                  <p:embed/>
                </p:oleObj>
              </mc:Choice>
              <mc:Fallback>
                <p:oleObj name="think-cell Slide" r:id="rId6" imgW="592" imgH="595" progId="TCLayout.ActiveDocument.1">
                  <p:embed/>
                  <p:pic>
                    <p:nvPicPr>
                      <p:cNvPr id="6" name="Object 5" hidden="1"/>
                      <p:cNvPicPr/>
                      <p:nvPr/>
                    </p:nvPicPr>
                    <p:blipFill>
                      <a:blip r:embed="rId7"/>
                      <a:stretch>
                        <a:fillRect/>
                      </a:stretch>
                    </p:blipFill>
                    <p:spPr>
                      <a:xfrm>
                        <a:off x="105029" y="1440"/>
                        <a:ext cx="1441" cy="1441"/>
                      </a:xfrm>
                      <a:prstGeom prst="rect">
                        <a:avLst/>
                      </a:prstGeom>
                    </p:spPr>
                  </p:pic>
                </p:oleObj>
              </mc:Fallback>
            </mc:AlternateContent>
          </a:graphicData>
        </a:graphic>
      </p:graphicFrame>
      <p:sp>
        <p:nvSpPr>
          <p:cNvPr id="2" name="Rectangle 1" hidden="1"/>
          <p:cNvSpPr/>
          <p:nvPr>
            <p:custDataLst>
              <p:tags r:id="rId3"/>
            </p:custDataLst>
          </p:nvPr>
        </p:nvSpPr>
        <p:spPr>
          <a:xfrm>
            <a:off x="103589" y="1"/>
            <a:ext cx="143985" cy="143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902">
              <a:latin typeface="Gill Sans Std Light" panose="020B0302020104020203" pitchFamily="34" charset="0"/>
              <a:ea typeface="华文中宋" panose="02010600040101010101"/>
              <a:sym typeface="Gill Sans Std Light" panose="020B0302020104020203" pitchFamily="34" charset="0"/>
            </a:endParaRPr>
          </a:p>
        </p:txBody>
      </p:sp>
      <p:sp>
        <p:nvSpPr>
          <p:cNvPr id="16" name="Rectangle: Rounded Corners 15">
            <a:extLst>
              <a:ext uri="{FF2B5EF4-FFF2-40B4-BE49-F238E27FC236}">
                <a16:creationId xmlns:a16="http://schemas.microsoft.com/office/drawing/2014/main" xmlns="" id="{B135AEAD-5474-4978-8933-CF1E8610D9C0}"/>
              </a:ext>
            </a:extLst>
          </p:cNvPr>
          <p:cNvSpPr/>
          <p:nvPr/>
        </p:nvSpPr>
        <p:spPr>
          <a:xfrm>
            <a:off x="3849801" y="965201"/>
            <a:ext cx="2327754" cy="3386995"/>
          </a:xfrm>
          <a:prstGeom prst="roundRect">
            <a:avLst>
              <a:gd name="adj" fmla="val 539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304"/>
          </a:p>
        </p:txBody>
      </p:sp>
      <p:sp>
        <p:nvSpPr>
          <p:cNvPr id="17" name="Rectangle: Rounded Corners 16">
            <a:extLst>
              <a:ext uri="{FF2B5EF4-FFF2-40B4-BE49-F238E27FC236}">
                <a16:creationId xmlns:a16="http://schemas.microsoft.com/office/drawing/2014/main" xmlns="" id="{C8B0039E-4D5B-4FE4-B2F4-E3C209BB5A19}"/>
              </a:ext>
            </a:extLst>
          </p:cNvPr>
          <p:cNvSpPr/>
          <p:nvPr/>
        </p:nvSpPr>
        <p:spPr>
          <a:xfrm>
            <a:off x="6503441" y="965201"/>
            <a:ext cx="2327754" cy="3386995"/>
          </a:xfrm>
          <a:prstGeom prst="roundRect">
            <a:avLst>
              <a:gd name="adj" fmla="val 539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304"/>
          </a:p>
        </p:txBody>
      </p:sp>
      <p:pic>
        <p:nvPicPr>
          <p:cNvPr id="12" name="Picture 11">
            <a:extLst>
              <a:ext uri="{FF2B5EF4-FFF2-40B4-BE49-F238E27FC236}">
                <a16:creationId xmlns:a16="http://schemas.microsoft.com/office/drawing/2014/main" xmlns="" id="{B59AF68E-9653-4FF3-B1DA-BC90BAFA178E}"/>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196160" y="965201"/>
            <a:ext cx="2327755" cy="1660224"/>
          </a:xfrm>
          <a:prstGeom prst="round2SameRect">
            <a:avLst>
              <a:gd name="adj1" fmla="val 4303"/>
              <a:gd name="adj2" fmla="val 0"/>
            </a:avLst>
          </a:prstGeom>
        </p:spPr>
      </p:pic>
      <p:pic>
        <p:nvPicPr>
          <p:cNvPr id="20" name="Picture 19">
            <a:extLst>
              <a:ext uri="{FF2B5EF4-FFF2-40B4-BE49-F238E27FC236}">
                <a16:creationId xmlns:a16="http://schemas.microsoft.com/office/drawing/2014/main" xmlns="" id="{ABA12978-9FCB-4BF4-A3DF-F36F3D313CE7}"/>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3849800" y="965201"/>
            <a:ext cx="2327755" cy="1660224"/>
          </a:xfrm>
          <a:prstGeom prst="round2SameRect">
            <a:avLst>
              <a:gd name="adj1" fmla="val 4303"/>
              <a:gd name="adj2" fmla="val 0"/>
            </a:avLst>
          </a:prstGeom>
        </p:spPr>
      </p:pic>
      <p:pic>
        <p:nvPicPr>
          <p:cNvPr id="21" name="Picture 20">
            <a:extLst>
              <a:ext uri="{FF2B5EF4-FFF2-40B4-BE49-F238E27FC236}">
                <a16:creationId xmlns:a16="http://schemas.microsoft.com/office/drawing/2014/main" xmlns="" id="{0C584A21-F428-485A-A55E-4D5A9C8CB054}"/>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6503441" y="965201"/>
            <a:ext cx="2327755" cy="1660224"/>
          </a:xfrm>
          <a:prstGeom prst="round2SameRect">
            <a:avLst>
              <a:gd name="adj1" fmla="val 4303"/>
              <a:gd name="adj2" fmla="val 0"/>
            </a:avLst>
          </a:prstGeom>
        </p:spPr>
      </p:pic>
      <p:sp>
        <p:nvSpPr>
          <p:cNvPr id="26" name="TextBox 25">
            <a:extLst>
              <a:ext uri="{FF2B5EF4-FFF2-40B4-BE49-F238E27FC236}">
                <a16:creationId xmlns:a16="http://schemas.microsoft.com/office/drawing/2014/main" xmlns="" id="{B33A0A54-4ED4-4346-A30F-E299B5660EE6}"/>
              </a:ext>
            </a:extLst>
          </p:cNvPr>
          <p:cNvSpPr txBox="1"/>
          <p:nvPr/>
        </p:nvSpPr>
        <p:spPr>
          <a:xfrm>
            <a:off x="1196160" y="2787610"/>
            <a:ext cx="2327754" cy="1423873"/>
          </a:xfrm>
          <a:prstGeom prst="rect">
            <a:avLst/>
          </a:prstGeom>
          <a:noFill/>
        </p:spPr>
        <p:txBody>
          <a:bodyPr wrap="square" lIns="32659" tIns="41476" rIns="32659" bIns="41476" numCol="1" spcCol="457200" rtlCol="0" anchor="t">
            <a:spAutoFit/>
          </a:bodyPr>
          <a:lstStyle/>
          <a:p>
            <a:pPr algn="ctr" defTabSz="946260">
              <a:spcAft>
                <a:spcPts val="907"/>
              </a:spcAft>
              <a:defRPr/>
            </a:pPr>
            <a:r>
              <a:rPr lang="en-SG" sz="2177" dirty="0">
                <a:solidFill>
                  <a:srgbClr val="966E32"/>
                </a:solidFill>
                <a:latin typeface="Gill Sans MT" panose="020B0502020104020203" pitchFamily="34" charset="0"/>
              </a:rPr>
              <a:t>Robust laws and regulations and impartial, effective judiciary</a:t>
            </a:r>
          </a:p>
        </p:txBody>
      </p:sp>
      <p:sp>
        <p:nvSpPr>
          <p:cNvPr id="27" name="TextBox 26">
            <a:extLst>
              <a:ext uri="{FF2B5EF4-FFF2-40B4-BE49-F238E27FC236}">
                <a16:creationId xmlns:a16="http://schemas.microsoft.com/office/drawing/2014/main" xmlns="" id="{9DDCEA0C-3464-4EE4-856C-F51F904004A0}"/>
              </a:ext>
            </a:extLst>
          </p:cNvPr>
          <p:cNvSpPr txBox="1"/>
          <p:nvPr/>
        </p:nvSpPr>
        <p:spPr>
          <a:xfrm>
            <a:off x="3849799" y="2776088"/>
            <a:ext cx="2327754" cy="1423873"/>
          </a:xfrm>
          <a:prstGeom prst="rect">
            <a:avLst/>
          </a:prstGeom>
          <a:noFill/>
        </p:spPr>
        <p:txBody>
          <a:bodyPr wrap="square" lIns="32659" tIns="41476" rIns="32659" bIns="41476" numCol="1" spcCol="457200" rtlCol="0" anchor="t">
            <a:spAutoFit/>
          </a:bodyPr>
          <a:lstStyle/>
          <a:p>
            <a:pPr algn="ctr" defTabSz="946260">
              <a:spcAft>
                <a:spcPts val="907"/>
              </a:spcAft>
              <a:defRPr/>
            </a:pPr>
            <a:r>
              <a:rPr lang="en-SG" sz="2177" dirty="0">
                <a:solidFill>
                  <a:srgbClr val="966E32"/>
                </a:solidFill>
                <a:latin typeface="Gill Sans MT" panose="020B0502020104020203" pitchFamily="34" charset="0"/>
              </a:rPr>
              <a:t>Effective anti-corruption investigation agencies</a:t>
            </a:r>
          </a:p>
        </p:txBody>
      </p:sp>
      <p:sp>
        <p:nvSpPr>
          <p:cNvPr id="28" name="TextBox 27">
            <a:extLst>
              <a:ext uri="{FF2B5EF4-FFF2-40B4-BE49-F238E27FC236}">
                <a16:creationId xmlns:a16="http://schemas.microsoft.com/office/drawing/2014/main" xmlns="" id="{B3CF46B0-F1AB-4B8E-AFB6-167B837DC7C3}"/>
              </a:ext>
            </a:extLst>
          </p:cNvPr>
          <p:cNvSpPr txBox="1"/>
          <p:nvPr/>
        </p:nvSpPr>
        <p:spPr>
          <a:xfrm>
            <a:off x="6503441" y="2799132"/>
            <a:ext cx="2327754" cy="1423873"/>
          </a:xfrm>
          <a:prstGeom prst="rect">
            <a:avLst/>
          </a:prstGeom>
          <a:noFill/>
        </p:spPr>
        <p:txBody>
          <a:bodyPr wrap="square" lIns="32659" tIns="41476" rIns="32659" bIns="41476" numCol="1" spcCol="457200" rtlCol="0" anchor="t">
            <a:spAutoFit/>
          </a:bodyPr>
          <a:lstStyle/>
          <a:p>
            <a:pPr algn="ctr" defTabSz="946260">
              <a:spcAft>
                <a:spcPts val="907"/>
              </a:spcAft>
              <a:defRPr/>
            </a:pPr>
            <a:r>
              <a:rPr lang="en-SG" sz="2177" dirty="0">
                <a:solidFill>
                  <a:srgbClr val="966E32"/>
                </a:solidFill>
                <a:latin typeface="Gill Sans MT" panose="020B0502020104020203" pitchFamily="34" charset="0"/>
              </a:rPr>
              <a:t>Good public awareness, communications and education</a:t>
            </a:r>
          </a:p>
        </p:txBody>
      </p:sp>
      <p:sp>
        <p:nvSpPr>
          <p:cNvPr id="34" name="Title 6">
            <a:extLst>
              <a:ext uri="{FF2B5EF4-FFF2-40B4-BE49-F238E27FC236}">
                <a16:creationId xmlns:a16="http://schemas.microsoft.com/office/drawing/2014/main" xmlns="" id="{02D51186-B2E1-44D3-A4E6-9B353793F664}"/>
              </a:ext>
            </a:extLst>
          </p:cNvPr>
          <p:cNvSpPr txBox="1">
            <a:spLocks/>
          </p:cNvSpPr>
          <p:nvPr/>
        </p:nvSpPr>
        <p:spPr>
          <a:xfrm>
            <a:off x="317797" y="327176"/>
            <a:ext cx="9803110" cy="403254"/>
          </a:xfrm>
        </p:spPr>
        <p:txBody>
          <a:bodyPr lIns="82953" tIns="41476" rIns="82953" bIns="41476" anchor="t"/>
          <a:lstStyle>
            <a:lvl1pPr marL="0" algn="l" defTabSz="457200" rtl="0" eaLnBrk="1" latinLnBrk="0" hangingPunct="1">
              <a:lnSpc>
                <a:spcPct val="90000"/>
              </a:lnSpc>
              <a:spcBef>
                <a:spcPct val="0"/>
              </a:spcBef>
              <a:buNone/>
              <a:defRPr lang="en-GB" sz="3200" kern="1200" dirty="0">
                <a:solidFill>
                  <a:schemeClr val="tx2"/>
                </a:solidFill>
                <a:latin typeface="Gill Sans Std Light" panose="020B0302020104020203" pitchFamily="34" charset="0"/>
                <a:ea typeface="+mn-ea"/>
                <a:cs typeface="Arial" panose="020B0604020202020204" pitchFamily="34" charset="0"/>
              </a:defRPr>
            </a:lvl1pPr>
          </a:lstStyle>
          <a:p>
            <a:pPr defTabSz="794663"/>
            <a:r>
              <a:rPr lang="en-US" altLang="zh-CN" sz="3629" dirty="0">
                <a:solidFill>
                  <a:srgbClr val="966E32"/>
                </a:solidFill>
                <a:latin typeface="Gill Sans Std Light"/>
                <a:cs typeface="Garamond" pitchFamily="18" charset="0"/>
              </a:rPr>
              <a:t>Anti-Corruption is a Whole-of-Government Effort</a:t>
            </a:r>
            <a:endParaRPr lang="en-US" altLang="zh-CN" sz="1814" dirty="0">
              <a:solidFill>
                <a:srgbClr val="966E32"/>
              </a:solidFill>
              <a:latin typeface="Gill Sans Std Light"/>
              <a:cs typeface="Garamond" pitchFamily="18" charset="0"/>
            </a:endParaRPr>
          </a:p>
        </p:txBody>
      </p:sp>
      <p:sp>
        <p:nvSpPr>
          <p:cNvPr id="33" name="TextBox 6">
            <a:extLst>
              <a:ext uri="{FF2B5EF4-FFF2-40B4-BE49-F238E27FC236}">
                <a16:creationId xmlns:a16="http://schemas.microsoft.com/office/drawing/2014/main" xmlns="" id="{54DA595D-6B70-4362-9B8A-66BCA670A08E}"/>
              </a:ext>
            </a:extLst>
          </p:cNvPr>
          <p:cNvSpPr txBox="1">
            <a:spLocks noChangeArrowheads="1"/>
          </p:cNvSpPr>
          <p:nvPr/>
        </p:nvSpPr>
        <p:spPr bwMode="auto">
          <a:xfrm>
            <a:off x="375403" y="6400144"/>
            <a:ext cx="3806726" cy="323165"/>
          </a:xfrm>
          <a:prstGeom prst="rect">
            <a:avLst/>
          </a:prstGeom>
          <a:noFill/>
          <a:ln w="9525">
            <a:noFill/>
            <a:miter lim="800000"/>
            <a:headEnd/>
            <a:tailEnd/>
          </a:ln>
        </p:spPr>
        <p:txBody>
          <a:bodyPr wrap="square">
            <a:spAutoFit/>
          </a:bodyPr>
          <a:lstStyle/>
          <a:p>
            <a:pPr defTabSz="829544">
              <a:lnSpc>
                <a:spcPts val="907"/>
              </a:lnSpc>
            </a:pPr>
            <a:r>
              <a:rPr lang="en-US" altLang="zh-CN" sz="726" dirty="0">
                <a:solidFill>
                  <a:schemeClr val="bg1">
                    <a:lumMod val="65000"/>
                  </a:schemeClr>
                </a:solidFill>
                <a:latin typeface="Gill Sans Std Light" pitchFamily="34" charset="0"/>
                <a:cs typeface="Garamond" pitchFamily="18" charset="0"/>
              </a:rPr>
              <a:t>All content is copyright and property of the Chandler Institute of Governance or the respective owners as stated. No </a:t>
            </a:r>
            <a:r>
              <a:rPr lang="en-US" altLang="zh-CN" sz="726" dirty="0" err="1">
                <a:solidFill>
                  <a:schemeClr val="bg1">
                    <a:lumMod val="65000"/>
                  </a:schemeClr>
                </a:solidFill>
                <a:latin typeface="Gill Sans Std Light" pitchFamily="34" charset="0"/>
                <a:cs typeface="Garamond" pitchFamily="18" charset="0"/>
              </a:rPr>
              <a:t>unauthorised</a:t>
            </a:r>
            <a:r>
              <a:rPr lang="en-US" altLang="zh-CN" sz="726" dirty="0">
                <a:solidFill>
                  <a:schemeClr val="bg1">
                    <a:lumMod val="65000"/>
                  </a:schemeClr>
                </a:solidFill>
                <a:latin typeface="Gill Sans Std Light" pitchFamily="34" charset="0"/>
                <a:cs typeface="Garamond" pitchFamily="18" charset="0"/>
              </a:rPr>
              <a:t> distribution or use is permitted. All rights reserved.</a:t>
            </a:r>
          </a:p>
        </p:txBody>
      </p:sp>
      <p:pic>
        <p:nvPicPr>
          <p:cNvPr id="32" name="Graphic 31">
            <a:extLst>
              <a:ext uri="{FF2B5EF4-FFF2-40B4-BE49-F238E27FC236}">
                <a16:creationId xmlns:a16="http://schemas.microsoft.com/office/drawing/2014/main" xmlns="" id="{223D1447-FA52-460C-889C-8BDEAB1A2650}"/>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xmlns="" r:embed="rId12"/>
              </a:ext>
            </a:extLst>
          </a:blip>
          <a:stretch>
            <a:fillRect/>
          </a:stretch>
        </p:blipFill>
        <p:spPr>
          <a:xfrm>
            <a:off x="8477911" y="5864491"/>
            <a:ext cx="1208779" cy="944832"/>
          </a:xfrm>
          <a:prstGeom prst="rect">
            <a:avLst/>
          </a:prstGeom>
        </p:spPr>
      </p:pic>
      <p:sp>
        <p:nvSpPr>
          <p:cNvPr id="38" name="Rectangle: Rounded Corners 37">
            <a:extLst>
              <a:ext uri="{FF2B5EF4-FFF2-40B4-BE49-F238E27FC236}">
                <a16:creationId xmlns:a16="http://schemas.microsoft.com/office/drawing/2014/main" xmlns="" id="{ABFD3591-104A-43E7-9B7E-B3CAB8E0CE62}"/>
              </a:ext>
            </a:extLst>
          </p:cNvPr>
          <p:cNvSpPr/>
          <p:nvPr/>
        </p:nvSpPr>
        <p:spPr>
          <a:xfrm>
            <a:off x="1196160" y="4398370"/>
            <a:ext cx="7635147" cy="1855640"/>
          </a:xfrm>
          <a:prstGeom prst="roundRect">
            <a:avLst>
              <a:gd name="adj" fmla="val 5394"/>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6260">
              <a:spcAft>
                <a:spcPts val="907"/>
              </a:spcAft>
              <a:defRPr/>
            </a:pPr>
            <a:r>
              <a:rPr lang="en-SG" sz="2177" dirty="0">
                <a:solidFill>
                  <a:srgbClr val="966E32"/>
                </a:solidFill>
                <a:latin typeface="Gill Sans MT" panose="020B0502020104020203" pitchFamily="34" charset="0"/>
              </a:rPr>
              <a:t>Far-sighted leadership with strong political will</a:t>
            </a:r>
          </a:p>
          <a:p>
            <a:pPr algn="ctr" defTabSz="946260">
              <a:spcAft>
                <a:spcPts val="907"/>
              </a:spcAft>
              <a:defRPr/>
            </a:pPr>
            <a:r>
              <a:rPr lang="en-SG" sz="2177" dirty="0">
                <a:solidFill>
                  <a:srgbClr val="966E32"/>
                </a:solidFill>
                <a:latin typeface="Gill Sans MT" panose="020B0502020104020203" pitchFamily="34" charset="0"/>
              </a:rPr>
              <a:t>Well trained police and law enforcement agencies</a:t>
            </a:r>
          </a:p>
          <a:p>
            <a:pPr algn="ctr" defTabSz="946260">
              <a:spcAft>
                <a:spcPts val="907"/>
              </a:spcAft>
              <a:defRPr/>
            </a:pPr>
            <a:r>
              <a:rPr lang="en-SG" sz="2177" dirty="0">
                <a:solidFill>
                  <a:srgbClr val="966E32"/>
                </a:solidFill>
                <a:latin typeface="Gill Sans MT" panose="020B0502020104020203" pitchFamily="34" charset="0"/>
              </a:rPr>
              <a:t>Civil service ethos and values</a:t>
            </a:r>
          </a:p>
          <a:p>
            <a:pPr algn="ctr" defTabSz="946260">
              <a:spcAft>
                <a:spcPts val="907"/>
              </a:spcAft>
              <a:defRPr/>
            </a:pPr>
            <a:r>
              <a:rPr lang="en-SG" sz="2177" dirty="0">
                <a:solidFill>
                  <a:srgbClr val="966E32"/>
                </a:solidFill>
                <a:latin typeface="Gill Sans MT" panose="020B0502020104020203" pitchFamily="34" charset="0"/>
              </a:rPr>
              <a:t>Systems, processes and controls within all government agencies</a:t>
            </a:r>
          </a:p>
        </p:txBody>
      </p:sp>
    </p:spTree>
    <p:extLst>
      <p:ext uri="{BB962C8B-B14F-4D97-AF65-F5344CB8AC3E}">
        <p14:creationId xmlns:p14="http://schemas.microsoft.com/office/powerpoint/2010/main" val="2302917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B4FCF996-5275-4737-9E3A-D960DFC5AB25}"/>
              </a:ext>
            </a:extLst>
          </p:cNvPr>
          <p:cNvSpPr/>
          <p:nvPr/>
        </p:nvSpPr>
        <p:spPr>
          <a:xfrm>
            <a:off x="8653901" y="4832910"/>
            <a:ext cx="1252100" cy="1382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122" name="Title 2">
            <a:extLst>
              <a:ext uri="{FF2B5EF4-FFF2-40B4-BE49-F238E27FC236}">
                <a16:creationId xmlns:a16="http://schemas.microsoft.com/office/drawing/2014/main" xmlns="" id="{60F0F7D7-B4F6-427C-BC6C-986E5D2F81AB}"/>
              </a:ext>
            </a:extLst>
          </p:cNvPr>
          <p:cNvSpPr txBox="1">
            <a:spLocks/>
          </p:cNvSpPr>
          <p:nvPr/>
        </p:nvSpPr>
        <p:spPr>
          <a:xfrm>
            <a:off x="516410" y="1012584"/>
            <a:ext cx="5226702" cy="523119"/>
          </a:xfrm>
          <a:prstGeom prst="rect">
            <a:avLst/>
          </a:prstGeom>
        </p:spPr>
        <p:txBody>
          <a:bodyPr vert="horz" lIns="0" tIns="33699" rIns="67397" bIns="33699" rtlCol="0" anchor="ctr">
            <a:normAutofit/>
          </a:bodyPr>
          <a:lstStyle>
            <a:lvl1pPr marL="0" algn="l" defTabSz="457200" rtl="0" eaLnBrk="1" latinLnBrk="0" hangingPunct="1">
              <a:lnSpc>
                <a:spcPct val="90000"/>
              </a:lnSpc>
              <a:spcBef>
                <a:spcPct val="0"/>
              </a:spcBef>
              <a:buNone/>
              <a:defRPr lang="en-GB" sz="3200" kern="1200" dirty="0">
                <a:solidFill>
                  <a:srgbClr val="966E32"/>
                </a:solidFill>
                <a:latin typeface="Gill Sans Std Light" panose="020B0302020104020203" pitchFamily="34" charset="0"/>
                <a:ea typeface="+mn-ea"/>
                <a:cs typeface="Arial" panose="020B0604020202020204" pitchFamily="34" charset="0"/>
              </a:defRPr>
            </a:lvl1pPr>
          </a:lstStyle>
          <a:p>
            <a:endParaRPr lang="en-US" sz="2359" dirty="0">
              <a:latin typeface="Futura PT Book" panose="020B0502020204020303" pitchFamily="34" charset="0"/>
              <a:cs typeface="Poppins Light" panose="00000400000000000000" pitchFamily="2" charset="0"/>
            </a:endParaRPr>
          </a:p>
        </p:txBody>
      </p:sp>
      <p:pic>
        <p:nvPicPr>
          <p:cNvPr id="10" name="Picture 9">
            <a:extLst>
              <a:ext uri="{FF2B5EF4-FFF2-40B4-BE49-F238E27FC236}">
                <a16:creationId xmlns:a16="http://schemas.microsoft.com/office/drawing/2014/main" xmlns="" id="{A2F2411A-331D-47A9-A0C8-F773D0DF0EE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39960" y="799079"/>
            <a:ext cx="1802658" cy="5228664"/>
          </a:xfrm>
          <a:prstGeom prst="rect">
            <a:avLst/>
          </a:prstGeom>
        </p:spPr>
      </p:pic>
      <p:sp>
        <p:nvSpPr>
          <p:cNvPr id="124" name="Title 2">
            <a:extLst>
              <a:ext uri="{FF2B5EF4-FFF2-40B4-BE49-F238E27FC236}">
                <a16:creationId xmlns:a16="http://schemas.microsoft.com/office/drawing/2014/main" xmlns="" id="{6390B374-629F-43E9-8A3B-5845D18E86E2}"/>
              </a:ext>
            </a:extLst>
          </p:cNvPr>
          <p:cNvSpPr txBox="1">
            <a:spLocks/>
          </p:cNvSpPr>
          <p:nvPr/>
        </p:nvSpPr>
        <p:spPr>
          <a:xfrm>
            <a:off x="1133006" y="1214182"/>
            <a:ext cx="5308530" cy="374561"/>
          </a:xfrm>
          <a:prstGeom prst="rect">
            <a:avLst/>
          </a:prstGeom>
        </p:spPr>
        <p:txBody>
          <a:bodyPr lIns="0"/>
          <a:lstStyle>
            <a:lvl1pPr marL="0" algn="l" defTabSz="457200" rtl="0" eaLnBrk="1" latinLnBrk="0" hangingPunct="1">
              <a:lnSpc>
                <a:spcPct val="90000"/>
              </a:lnSpc>
              <a:spcBef>
                <a:spcPct val="0"/>
              </a:spcBef>
              <a:buNone/>
              <a:defRPr lang="en-GB" sz="3200" kern="1200" dirty="0">
                <a:solidFill>
                  <a:srgbClr val="966E32"/>
                </a:solidFill>
                <a:latin typeface="Gill Sans Std Light" panose="020B0302020104020203" pitchFamily="34" charset="0"/>
                <a:ea typeface="+mn-ea"/>
                <a:cs typeface="Arial" panose="020B0604020202020204" pitchFamily="34" charset="0"/>
              </a:defRPr>
            </a:lvl1pPr>
          </a:lstStyle>
          <a:p>
            <a:r>
              <a:rPr lang="en-GB" sz="1327" dirty="0">
                <a:solidFill>
                  <a:srgbClr val="404040"/>
                </a:solidFill>
              </a:rPr>
              <a:t>Filter the results and select criteria to compare the country rankings and scores </a:t>
            </a:r>
          </a:p>
        </p:txBody>
      </p:sp>
      <p:pic>
        <p:nvPicPr>
          <p:cNvPr id="7" name="Picture 6">
            <a:extLst>
              <a:ext uri="{FF2B5EF4-FFF2-40B4-BE49-F238E27FC236}">
                <a16:creationId xmlns:a16="http://schemas.microsoft.com/office/drawing/2014/main" xmlns="" id="{A3E13E4F-B486-4643-89B1-6D248D500A7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54538" y="1630882"/>
            <a:ext cx="5528451" cy="4329439"/>
          </a:xfrm>
          <a:prstGeom prst="rect">
            <a:avLst/>
          </a:prstGeom>
        </p:spPr>
      </p:pic>
      <p:sp>
        <p:nvSpPr>
          <p:cNvPr id="8" name="Title 2">
            <a:extLst>
              <a:ext uri="{FF2B5EF4-FFF2-40B4-BE49-F238E27FC236}">
                <a16:creationId xmlns:a16="http://schemas.microsoft.com/office/drawing/2014/main" xmlns="" id="{953C683C-0814-4850-9B2D-543E166FF09C}"/>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sz="2400" dirty="0">
                <a:latin typeface="Futura PT Book" panose="020B0502020204020303" pitchFamily="34" charset="0"/>
              </a:rPr>
              <a:t>Using the CGGI - Filtering Result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79496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xmlns="" id="{148648A7-6E23-4F39-8F47-EEB52CAA059B}"/>
              </a:ext>
            </a:extLst>
          </p:cNvPr>
          <p:cNvPicPr>
            <a:picLocks noChangeAspect="1"/>
          </p:cNvPicPr>
          <p:nvPr/>
        </p:nvPicPr>
        <p:blipFill>
          <a:blip r:embed="rId3"/>
          <a:stretch>
            <a:fillRect/>
          </a:stretch>
        </p:blipFill>
        <p:spPr>
          <a:xfrm>
            <a:off x="2245868" y="1012583"/>
            <a:ext cx="5068302" cy="4849999"/>
          </a:xfrm>
          <a:prstGeom prst="rect">
            <a:avLst/>
          </a:prstGeom>
        </p:spPr>
      </p:pic>
      <p:sp>
        <p:nvSpPr>
          <p:cNvPr id="7" name="Title 2">
            <a:extLst>
              <a:ext uri="{FF2B5EF4-FFF2-40B4-BE49-F238E27FC236}">
                <a16:creationId xmlns:a16="http://schemas.microsoft.com/office/drawing/2014/main" xmlns="" id="{C48E5B72-E8D1-4439-8BD1-D7193286C048}"/>
              </a:ext>
            </a:extLst>
          </p:cNvPr>
          <p:cNvSpPr txBox="1">
            <a:spLocks/>
          </p:cNvSpPr>
          <p:nvPr/>
        </p:nvSpPr>
        <p:spPr>
          <a:xfrm>
            <a:off x="7314168" y="995418"/>
            <a:ext cx="2032691" cy="374561"/>
          </a:xfrm>
          <a:prstGeom prst="rect">
            <a:avLst/>
          </a:prstGeom>
        </p:spPr>
        <p:txBody>
          <a:bodyPr lIns="0"/>
          <a:lstStyle>
            <a:lvl1pPr marL="0" algn="l" defTabSz="457200" rtl="0" eaLnBrk="1" latinLnBrk="0" hangingPunct="1">
              <a:lnSpc>
                <a:spcPct val="90000"/>
              </a:lnSpc>
              <a:spcBef>
                <a:spcPct val="0"/>
              </a:spcBef>
              <a:buNone/>
              <a:defRPr lang="en-GB" sz="3200" kern="1200" dirty="0">
                <a:solidFill>
                  <a:srgbClr val="966E32"/>
                </a:solidFill>
                <a:latin typeface="Gill Sans Std Light" panose="020B0302020104020203" pitchFamily="34" charset="0"/>
                <a:ea typeface="+mn-ea"/>
                <a:cs typeface="Arial" panose="020B0604020202020204" pitchFamily="34" charset="0"/>
              </a:defRPr>
            </a:lvl1pPr>
          </a:lstStyle>
          <a:p>
            <a:pPr algn="r"/>
            <a:r>
              <a:rPr lang="en-US" sz="1474" dirty="0">
                <a:solidFill>
                  <a:schemeClr val="bg1"/>
                </a:solidFill>
              </a:rPr>
              <a:t>Build a spider graph to compare results between up to three countries</a:t>
            </a:r>
          </a:p>
        </p:txBody>
      </p:sp>
      <p:grpSp>
        <p:nvGrpSpPr>
          <p:cNvPr id="6" name="Group 5">
            <a:extLst>
              <a:ext uri="{FF2B5EF4-FFF2-40B4-BE49-F238E27FC236}">
                <a16:creationId xmlns:a16="http://schemas.microsoft.com/office/drawing/2014/main" xmlns="" id="{FA11E526-81DA-4FA3-9383-8D85D7BF1ABA}"/>
              </a:ext>
            </a:extLst>
          </p:cNvPr>
          <p:cNvGrpSpPr/>
          <p:nvPr/>
        </p:nvGrpSpPr>
        <p:grpSpPr>
          <a:xfrm>
            <a:off x="-628637" y="2670134"/>
            <a:ext cx="248254" cy="213172"/>
            <a:chOff x="5323045" y="3059430"/>
            <a:chExt cx="336814" cy="289217"/>
          </a:xfrm>
        </p:grpSpPr>
        <p:sp>
          <p:nvSpPr>
            <p:cNvPr id="2" name="Oval 1">
              <a:extLst>
                <a:ext uri="{FF2B5EF4-FFF2-40B4-BE49-F238E27FC236}">
                  <a16:creationId xmlns:a16="http://schemas.microsoft.com/office/drawing/2014/main" xmlns="" id="{15F6CA9D-A336-4AEA-ADD7-1D8D0C8E6580}"/>
                </a:ext>
              </a:extLst>
            </p:cNvPr>
            <p:cNvSpPr/>
            <p:nvPr/>
          </p:nvSpPr>
          <p:spPr>
            <a:xfrm>
              <a:off x="5386738" y="3059430"/>
              <a:ext cx="186690" cy="186690"/>
            </a:xfrm>
            <a:prstGeom prst="ellipse">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21" dirty="0"/>
            </a:p>
          </p:txBody>
        </p:sp>
        <p:sp>
          <p:nvSpPr>
            <p:cNvPr id="5" name="TextBox 4">
              <a:extLst>
                <a:ext uri="{FF2B5EF4-FFF2-40B4-BE49-F238E27FC236}">
                  <a16:creationId xmlns:a16="http://schemas.microsoft.com/office/drawing/2014/main" xmlns="" id="{4DDCE21F-C758-4110-9833-88B4CD6AC966}"/>
                </a:ext>
              </a:extLst>
            </p:cNvPr>
            <p:cNvSpPr txBox="1"/>
            <p:nvPr/>
          </p:nvSpPr>
          <p:spPr>
            <a:xfrm>
              <a:off x="5323045" y="3069223"/>
              <a:ext cx="336814" cy="279424"/>
            </a:xfrm>
            <a:prstGeom prst="rect">
              <a:avLst/>
            </a:prstGeom>
            <a:noFill/>
          </p:spPr>
          <p:txBody>
            <a:bodyPr wrap="square" rtlCol="0">
              <a:spAutoFit/>
            </a:bodyPr>
            <a:lstStyle/>
            <a:p>
              <a:r>
                <a:rPr lang="en-US" sz="369" dirty="0">
                  <a:solidFill>
                    <a:schemeClr val="bg1"/>
                  </a:solidFill>
                  <a:latin typeface="Futura PT Book" panose="020B0502020204020303" pitchFamily="34" charset="0"/>
                </a:rPr>
                <a:t>0.48</a:t>
              </a:r>
              <a:endParaRPr lang="en-SG" sz="369" dirty="0">
                <a:solidFill>
                  <a:schemeClr val="bg1"/>
                </a:solidFill>
                <a:latin typeface="Futura PT Book" panose="020B0502020204020303" pitchFamily="34" charset="0"/>
              </a:endParaRPr>
            </a:p>
          </p:txBody>
        </p:sp>
      </p:grpSp>
      <p:grpSp>
        <p:nvGrpSpPr>
          <p:cNvPr id="9" name="Group 8">
            <a:extLst>
              <a:ext uri="{FF2B5EF4-FFF2-40B4-BE49-F238E27FC236}">
                <a16:creationId xmlns:a16="http://schemas.microsoft.com/office/drawing/2014/main" xmlns="" id="{E578C7BE-C126-47FB-BDB0-A289E2B7D6AA}"/>
              </a:ext>
            </a:extLst>
          </p:cNvPr>
          <p:cNvGrpSpPr/>
          <p:nvPr/>
        </p:nvGrpSpPr>
        <p:grpSpPr>
          <a:xfrm>
            <a:off x="-628637" y="2880147"/>
            <a:ext cx="248254" cy="213172"/>
            <a:chOff x="5323045" y="3059430"/>
            <a:chExt cx="336814" cy="289217"/>
          </a:xfrm>
        </p:grpSpPr>
        <p:sp>
          <p:nvSpPr>
            <p:cNvPr id="10" name="Oval 9">
              <a:extLst>
                <a:ext uri="{FF2B5EF4-FFF2-40B4-BE49-F238E27FC236}">
                  <a16:creationId xmlns:a16="http://schemas.microsoft.com/office/drawing/2014/main" xmlns="" id="{0DBE3415-8DD8-4569-8843-3CCF54A615C9}"/>
                </a:ext>
              </a:extLst>
            </p:cNvPr>
            <p:cNvSpPr/>
            <p:nvPr/>
          </p:nvSpPr>
          <p:spPr>
            <a:xfrm>
              <a:off x="5386738" y="3059430"/>
              <a:ext cx="186690" cy="186690"/>
            </a:xfrm>
            <a:prstGeom prst="ellipse">
              <a:avLst/>
            </a:prstGeom>
            <a:solidFill>
              <a:srgbClr val="B39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21" dirty="0"/>
            </a:p>
          </p:txBody>
        </p:sp>
        <p:sp>
          <p:nvSpPr>
            <p:cNvPr id="11" name="TextBox 10">
              <a:extLst>
                <a:ext uri="{FF2B5EF4-FFF2-40B4-BE49-F238E27FC236}">
                  <a16:creationId xmlns:a16="http://schemas.microsoft.com/office/drawing/2014/main" xmlns="" id="{55C540DE-DBEB-4D07-90EB-66A521CD9F7A}"/>
                </a:ext>
              </a:extLst>
            </p:cNvPr>
            <p:cNvSpPr txBox="1"/>
            <p:nvPr/>
          </p:nvSpPr>
          <p:spPr>
            <a:xfrm>
              <a:off x="5323045" y="3069223"/>
              <a:ext cx="336814" cy="279424"/>
            </a:xfrm>
            <a:prstGeom prst="rect">
              <a:avLst/>
            </a:prstGeom>
            <a:noFill/>
          </p:spPr>
          <p:txBody>
            <a:bodyPr wrap="square" rtlCol="0">
              <a:spAutoFit/>
            </a:bodyPr>
            <a:lstStyle/>
            <a:p>
              <a:r>
                <a:rPr lang="en-US" sz="369" dirty="0">
                  <a:solidFill>
                    <a:schemeClr val="bg1"/>
                  </a:solidFill>
                  <a:latin typeface="Futura PT Book" panose="020B0502020204020303" pitchFamily="34" charset="0"/>
                </a:rPr>
                <a:t>0.34</a:t>
              </a:r>
              <a:endParaRPr lang="en-SG" sz="369" dirty="0">
                <a:solidFill>
                  <a:schemeClr val="bg1"/>
                </a:solidFill>
                <a:latin typeface="Futura PT Book" panose="020B0502020204020303" pitchFamily="34" charset="0"/>
              </a:endParaRPr>
            </a:p>
          </p:txBody>
        </p:sp>
      </p:grpSp>
      <p:graphicFrame>
        <p:nvGraphicFramePr>
          <p:cNvPr id="3" name="Table 2">
            <a:extLst>
              <a:ext uri="{FF2B5EF4-FFF2-40B4-BE49-F238E27FC236}">
                <a16:creationId xmlns:a16="http://schemas.microsoft.com/office/drawing/2014/main" xmlns="" id="{00D6D445-6D99-49E6-BB69-10AE79ECEF3B}"/>
              </a:ext>
            </a:extLst>
          </p:cNvPr>
          <p:cNvGraphicFramePr>
            <a:graphicFrameLocks noGrp="1"/>
          </p:cNvGraphicFramePr>
          <p:nvPr>
            <p:extLst>
              <p:ext uri="{D42A27DB-BD31-4B8C-83A1-F6EECF244321}">
                <p14:modId xmlns:p14="http://schemas.microsoft.com/office/powerpoint/2010/main" val="3048633850"/>
              </p:ext>
            </p:extLst>
          </p:nvPr>
        </p:nvGraphicFramePr>
        <p:xfrm>
          <a:off x="205479" y="7002879"/>
          <a:ext cx="3773712" cy="820002"/>
        </p:xfrm>
        <a:graphic>
          <a:graphicData uri="http://schemas.openxmlformats.org/drawingml/2006/table">
            <a:tbl>
              <a:tblPr firstRow="1" bandRow="1">
                <a:tableStyleId>{5C22544A-7EE6-4342-B048-85BDC9FD1C3A}</a:tableStyleId>
              </a:tblPr>
              <a:tblGrid>
                <a:gridCol w="471714">
                  <a:extLst>
                    <a:ext uri="{9D8B030D-6E8A-4147-A177-3AD203B41FA5}">
                      <a16:colId xmlns:a16="http://schemas.microsoft.com/office/drawing/2014/main" xmlns="" val="4013775456"/>
                    </a:ext>
                  </a:extLst>
                </a:gridCol>
                <a:gridCol w="471714">
                  <a:extLst>
                    <a:ext uri="{9D8B030D-6E8A-4147-A177-3AD203B41FA5}">
                      <a16:colId xmlns:a16="http://schemas.microsoft.com/office/drawing/2014/main" xmlns="" val="4244076583"/>
                    </a:ext>
                  </a:extLst>
                </a:gridCol>
                <a:gridCol w="471714">
                  <a:extLst>
                    <a:ext uri="{9D8B030D-6E8A-4147-A177-3AD203B41FA5}">
                      <a16:colId xmlns:a16="http://schemas.microsoft.com/office/drawing/2014/main" xmlns="" val="1344591527"/>
                    </a:ext>
                  </a:extLst>
                </a:gridCol>
                <a:gridCol w="471714">
                  <a:extLst>
                    <a:ext uri="{9D8B030D-6E8A-4147-A177-3AD203B41FA5}">
                      <a16:colId xmlns:a16="http://schemas.microsoft.com/office/drawing/2014/main" xmlns="" val="2299975524"/>
                    </a:ext>
                  </a:extLst>
                </a:gridCol>
                <a:gridCol w="471714">
                  <a:extLst>
                    <a:ext uri="{9D8B030D-6E8A-4147-A177-3AD203B41FA5}">
                      <a16:colId xmlns:a16="http://schemas.microsoft.com/office/drawing/2014/main" xmlns="" val="3202730366"/>
                    </a:ext>
                  </a:extLst>
                </a:gridCol>
                <a:gridCol w="471714">
                  <a:extLst>
                    <a:ext uri="{9D8B030D-6E8A-4147-A177-3AD203B41FA5}">
                      <a16:colId xmlns:a16="http://schemas.microsoft.com/office/drawing/2014/main" xmlns="" val="3834622426"/>
                    </a:ext>
                  </a:extLst>
                </a:gridCol>
                <a:gridCol w="471714">
                  <a:extLst>
                    <a:ext uri="{9D8B030D-6E8A-4147-A177-3AD203B41FA5}">
                      <a16:colId xmlns:a16="http://schemas.microsoft.com/office/drawing/2014/main" xmlns="" val="943508436"/>
                    </a:ext>
                  </a:extLst>
                </a:gridCol>
                <a:gridCol w="471714">
                  <a:extLst>
                    <a:ext uri="{9D8B030D-6E8A-4147-A177-3AD203B41FA5}">
                      <a16:colId xmlns:a16="http://schemas.microsoft.com/office/drawing/2014/main" xmlns="" val="2902793164"/>
                    </a:ext>
                  </a:extLst>
                </a:gridCol>
              </a:tblGrid>
              <a:tr h="273334">
                <a:tc>
                  <a:txBody>
                    <a:bodyPr/>
                    <a:lstStyle/>
                    <a:p>
                      <a:pPr algn="ct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LF</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RL</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SI</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FS</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AM</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GI</a:t>
                      </a:r>
                      <a:endParaRPr lang="en-SG" sz="700" dirty="0">
                        <a:latin typeface="Gill Sans Std Light" panose="020B0302020104020203" pitchFamily="34" charset="0"/>
                      </a:endParaRPr>
                    </a:p>
                  </a:txBody>
                  <a:tcPr marL="67397" marR="67397" marT="33699" marB="33699" anchor="ctr"/>
                </a:tc>
                <a:tc>
                  <a:txBody>
                    <a:bodyPr/>
                    <a:lstStyle/>
                    <a:p>
                      <a:pPr algn="ctr"/>
                      <a:r>
                        <a:rPr lang="en-US" sz="700" dirty="0">
                          <a:latin typeface="Gill Sans Std Light" panose="020B0302020104020203" pitchFamily="34" charset="0"/>
                        </a:rPr>
                        <a:t>HPR</a:t>
                      </a:r>
                    </a:p>
                  </a:txBody>
                  <a:tcPr marL="67397" marR="67397" marT="33699" marB="33699" anchor="ctr"/>
                </a:tc>
                <a:extLst>
                  <a:ext uri="{0D108BD9-81ED-4DB2-BD59-A6C34878D82A}">
                    <a16:rowId xmlns:a16="http://schemas.microsoft.com/office/drawing/2014/main" xmlns="" val="310897899"/>
                  </a:ext>
                </a:extLst>
              </a:tr>
              <a:tr h="273334">
                <a:tc>
                  <a:txBody>
                    <a:bodyPr/>
                    <a:lstStyle/>
                    <a:p>
                      <a:pPr algn="ctr"/>
                      <a:r>
                        <a:rPr lang="en-US" sz="700" dirty="0">
                          <a:latin typeface="Gill Sans Std Light" panose="020B0302020104020203" pitchFamily="34" charset="0"/>
                        </a:rPr>
                        <a:t>2022</a:t>
                      </a:r>
                      <a:endParaRPr lang="en-SG" sz="700" dirty="0">
                        <a:latin typeface="Gill Sans Std Light" panose="020B0302020104020203" pitchFamily="34" charset="0"/>
                      </a:endParaRPr>
                    </a:p>
                  </a:txBody>
                  <a:tcPr marL="67397" marR="67397" marT="33699" marB="33699" anchor="ctr"/>
                </a:tc>
                <a:tc>
                  <a:txBody>
                    <a:bodyPr/>
                    <a:lstStyle/>
                    <a:p>
                      <a:pPr algn="ctr" fontAlgn="b"/>
                      <a:r>
                        <a:rPr lang="en-SG" sz="700" b="0" i="0" u="none" strike="noStrike" dirty="0">
                          <a:solidFill>
                            <a:srgbClr val="000000"/>
                          </a:solidFill>
                          <a:effectLst/>
                          <a:latin typeface="Gill Sans Std Light" panose="020B0302020104020203" pitchFamily="34" charset="0"/>
                        </a:rPr>
                        <a:t>0.442</a:t>
                      </a:r>
                    </a:p>
                  </a:txBody>
                  <a:tcPr marL="7021" marR="7021" marT="7021" marB="0" anchor="ctr"/>
                </a:tc>
                <a:tc>
                  <a:txBody>
                    <a:bodyPr/>
                    <a:lstStyle/>
                    <a:p>
                      <a:pPr algn="ctr" fontAlgn="b"/>
                      <a:r>
                        <a:rPr lang="en-SG" sz="700" b="0" i="0" u="none" strike="noStrike">
                          <a:solidFill>
                            <a:srgbClr val="000000"/>
                          </a:solidFill>
                          <a:effectLst/>
                          <a:latin typeface="Gill Sans Std Light" panose="020B0302020104020203" pitchFamily="34" charset="0"/>
                        </a:rPr>
                        <a:t>0.568</a:t>
                      </a:r>
                    </a:p>
                  </a:txBody>
                  <a:tcPr marL="7021" marR="7021" marT="7021" marB="0" anchor="ctr"/>
                </a:tc>
                <a:tc>
                  <a:txBody>
                    <a:bodyPr/>
                    <a:lstStyle/>
                    <a:p>
                      <a:pPr algn="ctr" fontAlgn="b"/>
                      <a:r>
                        <a:rPr lang="en-SG" sz="700" b="0" i="0" u="none" strike="noStrike">
                          <a:solidFill>
                            <a:srgbClr val="000000"/>
                          </a:solidFill>
                          <a:effectLst/>
                          <a:latin typeface="Gill Sans Std Light" panose="020B0302020104020203" pitchFamily="34" charset="0"/>
                        </a:rPr>
                        <a:t>0.492</a:t>
                      </a:r>
                    </a:p>
                  </a:txBody>
                  <a:tcPr marL="7021" marR="7021" marT="7021" marB="0" anchor="ctr"/>
                </a:tc>
                <a:tc>
                  <a:txBody>
                    <a:bodyPr/>
                    <a:lstStyle/>
                    <a:p>
                      <a:pPr algn="ctr" fontAlgn="b"/>
                      <a:r>
                        <a:rPr lang="en-SG" sz="700" b="0" i="0" u="none" strike="noStrike">
                          <a:solidFill>
                            <a:srgbClr val="000000"/>
                          </a:solidFill>
                          <a:effectLst/>
                          <a:latin typeface="Gill Sans Std Light" panose="020B0302020104020203" pitchFamily="34" charset="0"/>
                        </a:rPr>
                        <a:t>0.529</a:t>
                      </a:r>
                    </a:p>
                  </a:txBody>
                  <a:tcPr marL="7021" marR="7021" marT="7021" marB="0" anchor="ctr"/>
                </a:tc>
                <a:tc>
                  <a:txBody>
                    <a:bodyPr/>
                    <a:lstStyle/>
                    <a:p>
                      <a:pPr algn="ctr" fontAlgn="b"/>
                      <a:r>
                        <a:rPr lang="en-SG" sz="700" b="0" i="0" u="none" strike="noStrike">
                          <a:solidFill>
                            <a:srgbClr val="000000"/>
                          </a:solidFill>
                          <a:effectLst/>
                          <a:latin typeface="Gill Sans Std Light" panose="020B0302020104020203" pitchFamily="34" charset="0"/>
                        </a:rPr>
                        <a:t>0.591</a:t>
                      </a:r>
                    </a:p>
                  </a:txBody>
                  <a:tcPr marL="7021" marR="7021" marT="7021" marB="0" anchor="ctr"/>
                </a:tc>
                <a:tc>
                  <a:txBody>
                    <a:bodyPr/>
                    <a:lstStyle/>
                    <a:p>
                      <a:pPr algn="ctr" fontAlgn="b"/>
                      <a:r>
                        <a:rPr lang="en-SG" sz="700" b="0" i="0" u="none" strike="noStrike">
                          <a:solidFill>
                            <a:srgbClr val="000000"/>
                          </a:solidFill>
                          <a:effectLst/>
                          <a:latin typeface="Gill Sans Std Light" panose="020B0302020104020203" pitchFamily="34" charset="0"/>
                        </a:rPr>
                        <a:t>0.524</a:t>
                      </a:r>
                    </a:p>
                  </a:txBody>
                  <a:tcPr marL="7021" marR="7021" marT="7021" marB="0" anchor="ctr"/>
                </a:tc>
                <a:tc>
                  <a:txBody>
                    <a:bodyPr/>
                    <a:lstStyle/>
                    <a:p>
                      <a:pPr algn="ctr" fontAlgn="b"/>
                      <a:r>
                        <a:rPr lang="en-SG" sz="700" b="0" i="0" u="none" strike="noStrike" dirty="0">
                          <a:solidFill>
                            <a:srgbClr val="000000"/>
                          </a:solidFill>
                          <a:effectLst/>
                          <a:latin typeface="Gill Sans Std Light" panose="020B0302020104020203" pitchFamily="34" charset="0"/>
                        </a:rPr>
                        <a:t>0.579</a:t>
                      </a:r>
                    </a:p>
                  </a:txBody>
                  <a:tcPr marL="7021" marR="7021" marT="7021" marB="0" anchor="ctr"/>
                </a:tc>
                <a:extLst>
                  <a:ext uri="{0D108BD9-81ED-4DB2-BD59-A6C34878D82A}">
                    <a16:rowId xmlns:a16="http://schemas.microsoft.com/office/drawing/2014/main" xmlns="" val="490606794"/>
                  </a:ext>
                </a:extLst>
              </a:tr>
              <a:tr h="273334">
                <a:tc>
                  <a:txBody>
                    <a:bodyPr/>
                    <a:lstStyle/>
                    <a:p>
                      <a:pPr algn="ctr"/>
                      <a:r>
                        <a:rPr lang="en-US" sz="700" dirty="0">
                          <a:latin typeface="Gill Sans Std Light" panose="020B0302020104020203" pitchFamily="34" charset="0"/>
                        </a:rPr>
                        <a:t>2021</a:t>
                      </a:r>
                      <a:endParaRPr lang="en-SG" sz="700" dirty="0">
                        <a:latin typeface="Gill Sans Std Light" panose="020B0302020104020203" pitchFamily="34" charset="0"/>
                      </a:endParaRPr>
                    </a:p>
                  </a:txBody>
                  <a:tcPr marL="67397" marR="67397" marT="33699" marB="33699" anchor="ctr"/>
                </a:tc>
                <a:tc>
                  <a:txBody>
                    <a:bodyPr/>
                    <a:lstStyle/>
                    <a:p>
                      <a:pPr algn="ctr" fontAlgn="b"/>
                      <a:r>
                        <a:rPr lang="en-SG" sz="700" b="0" i="0" u="none" strike="noStrike" dirty="0">
                          <a:solidFill>
                            <a:srgbClr val="000000"/>
                          </a:solidFill>
                          <a:effectLst/>
                          <a:latin typeface="Gill Sans Std Light" panose="020B0302020104020203" pitchFamily="34" charset="0"/>
                        </a:rPr>
                        <a:t>0.442</a:t>
                      </a:r>
                    </a:p>
                  </a:txBody>
                  <a:tcPr marL="0" marR="0" marT="0" marB="0" anchor="ctr"/>
                </a:tc>
                <a:tc>
                  <a:txBody>
                    <a:bodyPr/>
                    <a:lstStyle/>
                    <a:p>
                      <a:pPr algn="ctr" fontAlgn="b"/>
                      <a:r>
                        <a:rPr lang="en-SG" sz="700" b="0" i="0" u="none" strike="noStrike" dirty="0">
                          <a:solidFill>
                            <a:srgbClr val="000000"/>
                          </a:solidFill>
                          <a:effectLst/>
                          <a:latin typeface="Gill Sans Std Light" panose="020B0302020104020203" pitchFamily="34" charset="0"/>
                        </a:rPr>
                        <a:t>0.565</a:t>
                      </a:r>
                    </a:p>
                  </a:txBody>
                  <a:tcPr marL="0" marR="0" marT="0" marB="0" anchor="ctr"/>
                </a:tc>
                <a:tc>
                  <a:txBody>
                    <a:bodyPr/>
                    <a:lstStyle/>
                    <a:p>
                      <a:pPr algn="ctr" fontAlgn="b"/>
                      <a:r>
                        <a:rPr lang="en-SG" sz="700" b="0" i="0" u="none" strike="noStrike" dirty="0">
                          <a:solidFill>
                            <a:srgbClr val="000000"/>
                          </a:solidFill>
                          <a:effectLst/>
                          <a:latin typeface="Gill Sans Std Light" panose="020B0302020104020203" pitchFamily="34" charset="0"/>
                        </a:rPr>
                        <a:t>0.492</a:t>
                      </a:r>
                    </a:p>
                  </a:txBody>
                  <a:tcPr marL="0" marR="0" marT="0" marB="0" anchor="ctr"/>
                </a:tc>
                <a:tc>
                  <a:txBody>
                    <a:bodyPr/>
                    <a:lstStyle/>
                    <a:p>
                      <a:pPr algn="ctr" fontAlgn="b"/>
                      <a:r>
                        <a:rPr lang="en-SG" sz="700" b="0" i="0" u="none" strike="noStrike">
                          <a:solidFill>
                            <a:srgbClr val="000000"/>
                          </a:solidFill>
                          <a:effectLst/>
                          <a:latin typeface="Gill Sans Std Light" panose="020B0302020104020203" pitchFamily="34" charset="0"/>
                        </a:rPr>
                        <a:t>0.546</a:t>
                      </a:r>
                    </a:p>
                  </a:txBody>
                  <a:tcPr marL="0" marR="0" marT="0" marB="0" anchor="ctr"/>
                </a:tc>
                <a:tc>
                  <a:txBody>
                    <a:bodyPr/>
                    <a:lstStyle/>
                    <a:p>
                      <a:pPr algn="ctr" fontAlgn="b"/>
                      <a:r>
                        <a:rPr lang="en-SG" sz="700" b="0" i="0" u="none" strike="noStrike">
                          <a:solidFill>
                            <a:srgbClr val="000000"/>
                          </a:solidFill>
                          <a:effectLst/>
                          <a:latin typeface="Gill Sans Std Light" panose="020B0302020104020203" pitchFamily="34" charset="0"/>
                        </a:rPr>
                        <a:t>0.593</a:t>
                      </a:r>
                    </a:p>
                  </a:txBody>
                  <a:tcPr marL="0" marR="0" marT="0" marB="0" anchor="ctr"/>
                </a:tc>
                <a:tc>
                  <a:txBody>
                    <a:bodyPr/>
                    <a:lstStyle/>
                    <a:p>
                      <a:pPr algn="ctr" fontAlgn="b"/>
                      <a:r>
                        <a:rPr lang="en-SG" sz="700" b="0" i="0" u="none" strike="noStrike">
                          <a:solidFill>
                            <a:srgbClr val="000000"/>
                          </a:solidFill>
                          <a:effectLst/>
                          <a:latin typeface="Gill Sans Std Light" panose="020B0302020104020203" pitchFamily="34" charset="0"/>
                        </a:rPr>
                        <a:t>0.529</a:t>
                      </a:r>
                    </a:p>
                  </a:txBody>
                  <a:tcPr marL="0" marR="0" marT="0" marB="0" anchor="ctr"/>
                </a:tc>
                <a:tc>
                  <a:txBody>
                    <a:bodyPr/>
                    <a:lstStyle/>
                    <a:p>
                      <a:pPr algn="ctr" fontAlgn="b"/>
                      <a:r>
                        <a:rPr lang="en-SG" sz="700" b="0" i="0" u="none" strike="noStrike" dirty="0">
                          <a:solidFill>
                            <a:srgbClr val="000000"/>
                          </a:solidFill>
                          <a:effectLst/>
                          <a:latin typeface="Gill Sans Std Light" panose="020B0302020104020203" pitchFamily="34" charset="0"/>
                        </a:rPr>
                        <a:t>0.579</a:t>
                      </a:r>
                    </a:p>
                  </a:txBody>
                  <a:tcPr marL="0" marR="0" marT="0" marB="0" anchor="ctr"/>
                </a:tc>
                <a:extLst>
                  <a:ext uri="{0D108BD9-81ED-4DB2-BD59-A6C34878D82A}">
                    <a16:rowId xmlns:a16="http://schemas.microsoft.com/office/drawing/2014/main" xmlns="" val="135196221"/>
                  </a:ext>
                </a:extLst>
              </a:tr>
            </a:tbl>
          </a:graphicData>
        </a:graphic>
      </p:graphicFrame>
      <p:sp>
        <p:nvSpPr>
          <p:cNvPr id="16" name="Title 2">
            <a:extLst>
              <a:ext uri="{FF2B5EF4-FFF2-40B4-BE49-F238E27FC236}">
                <a16:creationId xmlns:a16="http://schemas.microsoft.com/office/drawing/2014/main" xmlns="" id="{9B5AF696-D1F3-4BC5-B0E7-E0217BEA1C1B}"/>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sz="2400" dirty="0">
                <a:latin typeface="Futura PT Book" panose="020B0502020204020303" pitchFamily="34" charset="0"/>
              </a:rPr>
              <a:t>Using the CGGI - Comparing Countrie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18626120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9CD6052E-87F0-4905-97A3-617E44CC658C}"/>
              </a:ext>
            </a:extLst>
          </p:cNvPr>
          <p:cNvPicPr>
            <a:picLocks noChangeAspect="1"/>
          </p:cNvPicPr>
          <p:nvPr/>
        </p:nvPicPr>
        <p:blipFill>
          <a:blip r:embed="rId3"/>
          <a:stretch>
            <a:fillRect/>
          </a:stretch>
        </p:blipFill>
        <p:spPr>
          <a:xfrm>
            <a:off x="1173477" y="1228309"/>
            <a:ext cx="7559045" cy="4625195"/>
          </a:xfrm>
          <a:prstGeom prst="rect">
            <a:avLst/>
          </a:prstGeom>
        </p:spPr>
      </p:pic>
      <p:sp>
        <p:nvSpPr>
          <p:cNvPr id="15" name="Rectangle 14">
            <a:extLst>
              <a:ext uri="{FF2B5EF4-FFF2-40B4-BE49-F238E27FC236}">
                <a16:creationId xmlns:a16="http://schemas.microsoft.com/office/drawing/2014/main" xmlns="" id="{4D3EA1BD-AE9A-43F1-8E9E-CAE5A483248C}"/>
              </a:ext>
            </a:extLst>
          </p:cNvPr>
          <p:cNvSpPr/>
          <p:nvPr/>
        </p:nvSpPr>
        <p:spPr>
          <a:xfrm>
            <a:off x="6985450" y="708841"/>
            <a:ext cx="2920550" cy="820323"/>
          </a:xfrm>
          <a:prstGeom prst="rect">
            <a:avLst/>
          </a:prstGeom>
          <a:solidFill>
            <a:srgbClr val="C59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 name="Title 2">
            <a:extLst>
              <a:ext uri="{FF2B5EF4-FFF2-40B4-BE49-F238E27FC236}">
                <a16:creationId xmlns:a16="http://schemas.microsoft.com/office/drawing/2014/main" xmlns="" id="{C48E5B72-E8D1-4439-8BD1-D7193286C048}"/>
              </a:ext>
            </a:extLst>
          </p:cNvPr>
          <p:cNvSpPr txBox="1">
            <a:spLocks/>
          </p:cNvSpPr>
          <p:nvPr/>
        </p:nvSpPr>
        <p:spPr>
          <a:xfrm>
            <a:off x="7314168" y="803347"/>
            <a:ext cx="2032691" cy="669941"/>
          </a:xfrm>
          <a:prstGeom prst="rect">
            <a:avLst/>
          </a:prstGeom>
        </p:spPr>
        <p:txBody>
          <a:bodyPr lIns="0"/>
          <a:lstStyle>
            <a:lvl1pPr marL="0" algn="l" defTabSz="457200" rtl="0" eaLnBrk="1" latinLnBrk="0" hangingPunct="1">
              <a:lnSpc>
                <a:spcPct val="90000"/>
              </a:lnSpc>
              <a:spcBef>
                <a:spcPct val="0"/>
              </a:spcBef>
              <a:buNone/>
              <a:defRPr lang="en-GB" sz="3200" kern="1200" dirty="0">
                <a:solidFill>
                  <a:srgbClr val="966E32"/>
                </a:solidFill>
                <a:latin typeface="Gill Sans Std Light" panose="020B0302020104020203" pitchFamily="34" charset="0"/>
                <a:ea typeface="+mn-ea"/>
                <a:cs typeface="Arial" panose="020B0604020202020204" pitchFamily="34" charset="0"/>
              </a:defRPr>
            </a:lvl1pPr>
          </a:lstStyle>
          <a:p>
            <a:pPr algn="r"/>
            <a:r>
              <a:rPr lang="en-US" sz="1474" dirty="0">
                <a:solidFill>
                  <a:schemeClr val="bg1"/>
                </a:solidFill>
              </a:rPr>
              <a:t>Build a trend chart to compare results between up to three countries</a:t>
            </a:r>
          </a:p>
        </p:txBody>
      </p:sp>
      <p:sp>
        <p:nvSpPr>
          <p:cNvPr id="6" name="Title 2">
            <a:extLst>
              <a:ext uri="{FF2B5EF4-FFF2-40B4-BE49-F238E27FC236}">
                <a16:creationId xmlns:a16="http://schemas.microsoft.com/office/drawing/2014/main" xmlns="" id="{8A37EC6A-1BEC-47F6-B5E0-4E7BB48B3AAE}"/>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sz="2400" dirty="0">
                <a:latin typeface="Futura PT Book" panose="020B0502020204020303" pitchFamily="34" charset="0"/>
              </a:rPr>
              <a:t>Using the CGGI - Comparing Countrie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1233189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32316333-27BB-4C2E-AE6B-0CC333DE658B}"/>
              </a:ext>
            </a:extLst>
          </p:cNvPr>
          <p:cNvSpPr/>
          <p:nvPr/>
        </p:nvSpPr>
        <p:spPr>
          <a:xfrm>
            <a:off x="7388136" y="5056250"/>
            <a:ext cx="1094328" cy="62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pic>
        <p:nvPicPr>
          <p:cNvPr id="4" name="Picture 3">
            <a:extLst>
              <a:ext uri="{FF2B5EF4-FFF2-40B4-BE49-F238E27FC236}">
                <a16:creationId xmlns:a16="http://schemas.microsoft.com/office/drawing/2014/main" xmlns="" id="{75906F0A-8B04-49CB-804D-85D6ABFDC8A9}"/>
              </a:ext>
            </a:extLst>
          </p:cNvPr>
          <p:cNvPicPr>
            <a:picLocks noChangeAspect="1"/>
          </p:cNvPicPr>
          <p:nvPr/>
        </p:nvPicPr>
        <p:blipFill>
          <a:blip r:embed="rId3"/>
          <a:stretch>
            <a:fillRect/>
          </a:stretch>
        </p:blipFill>
        <p:spPr>
          <a:xfrm>
            <a:off x="1539233" y="1065793"/>
            <a:ext cx="7258381" cy="4981541"/>
          </a:xfrm>
          <a:prstGeom prst="rect">
            <a:avLst/>
          </a:prstGeom>
        </p:spPr>
      </p:pic>
      <p:sp>
        <p:nvSpPr>
          <p:cNvPr id="8" name="Title 2">
            <a:extLst>
              <a:ext uri="{FF2B5EF4-FFF2-40B4-BE49-F238E27FC236}">
                <a16:creationId xmlns:a16="http://schemas.microsoft.com/office/drawing/2014/main" xmlns="" id="{494DDD4E-5810-4C37-BF50-5B3388690503}"/>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sz="2400" dirty="0">
                <a:latin typeface="Futura PT Book" panose="020B0502020204020303" pitchFamily="34" charset="0"/>
              </a:rPr>
              <a:t>Using the CGGI - </a:t>
            </a:r>
            <a:r>
              <a:rPr lang="en-US" sz="2400" dirty="0" err="1">
                <a:latin typeface="Futura PT Book" panose="020B0502020204020303" pitchFamily="34" charset="0"/>
              </a:rPr>
              <a:t>Customising</a:t>
            </a:r>
            <a:r>
              <a:rPr lang="en-US" sz="2400" dirty="0">
                <a:latin typeface="Futura PT Book" panose="020B0502020204020303" pitchFamily="34" charset="0"/>
              </a:rPr>
              <a:t> Weights</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2568068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52839DE9-BFD9-4AC8-BCA7-6226DD63006C}"/>
              </a:ext>
            </a:extLst>
          </p:cNvPr>
          <p:cNvSpPr/>
          <p:nvPr/>
        </p:nvSpPr>
        <p:spPr>
          <a:xfrm>
            <a:off x="1" y="3226614"/>
            <a:ext cx="9905999" cy="1923208"/>
          </a:xfrm>
          <a:prstGeom prst="rect">
            <a:avLst/>
          </a:prstGeom>
          <a:solidFill>
            <a:srgbClr val="E9D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 name="Title 2">
            <a:extLst>
              <a:ext uri="{FF2B5EF4-FFF2-40B4-BE49-F238E27FC236}">
                <a16:creationId xmlns:a16="http://schemas.microsoft.com/office/drawing/2014/main" xmlns="" id="{33A2021B-30BE-421D-8CC8-E75FAF92E52E}"/>
              </a:ext>
            </a:extLst>
          </p:cNvPr>
          <p:cNvSpPr>
            <a:spLocks noGrp="1"/>
          </p:cNvSpPr>
          <p:nvPr>
            <p:ph type="title"/>
          </p:nvPr>
        </p:nvSpPr>
        <p:spPr>
          <a:xfrm>
            <a:off x="516410" y="511689"/>
            <a:ext cx="8873181" cy="607314"/>
          </a:xfrm>
        </p:spPr>
        <p:txBody>
          <a:bodyPr>
            <a:normAutofit fontScale="90000"/>
          </a:bodyPr>
          <a:lstStyle/>
          <a:p>
            <a:r>
              <a:rPr lang="en-US" sz="2400" dirty="0">
                <a:latin typeface="Futura PT Book" panose="020B0502020204020303" pitchFamily="34" charset="0"/>
                <a:cs typeface="Poppins Light" panose="00000400000000000000" pitchFamily="2" charset="0"/>
              </a:rPr>
              <a:t>National Governance and National Prosperity are Deeply Connected</a:t>
            </a:r>
            <a:endParaRPr lang="en-GB" sz="2400" dirty="0">
              <a:latin typeface="Futura PT Book" panose="020B0502020204020303" pitchFamily="34" charset="0"/>
              <a:cs typeface="Poppins Light" panose="00000400000000000000" pitchFamily="2" charset="0"/>
            </a:endParaRPr>
          </a:p>
        </p:txBody>
      </p:sp>
      <p:sp>
        <p:nvSpPr>
          <p:cNvPr id="5" name="TextBox 4">
            <a:extLst>
              <a:ext uri="{FF2B5EF4-FFF2-40B4-BE49-F238E27FC236}">
                <a16:creationId xmlns:a16="http://schemas.microsoft.com/office/drawing/2014/main" xmlns="" id="{D07F7475-053F-4DA4-92E0-3A85594DF0DC}"/>
              </a:ext>
            </a:extLst>
          </p:cNvPr>
          <p:cNvSpPr txBox="1"/>
          <p:nvPr/>
        </p:nvSpPr>
        <p:spPr>
          <a:xfrm>
            <a:off x="1182160" y="4280794"/>
            <a:ext cx="1626684" cy="455253"/>
          </a:xfrm>
          <a:prstGeom prst="rect">
            <a:avLst/>
          </a:prstGeom>
          <a:noFill/>
        </p:spPr>
        <p:txBody>
          <a:bodyPr wrap="square">
            <a:spAutoFit/>
          </a:bodyPr>
          <a:lstStyle/>
          <a:p>
            <a:pPr algn="ctr"/>
            <a:r>
              <a:rPr lang="en-SG" sz="1179" dirty="0">
                <a:latin typeface="Poppins" panose="00000500000000000000" pitchFamily="2" charset="0"/>
                <a:cs typeface="Poppins" panose="00000500000000000000" pitchFamily="2" charset="0"/>
              </a:rPr>
              <a:t>Government</a:t>
            </a:r>
          </a:p>
          <a:p>
            <a:pPr algn="ctr"/>
            <a:r>
              <a:rPr lang="en-SG" sz="1179" dirty="0">
                <a:latin typeface="Poppins" panose="00000500000000000000" pitchFamily="2" charset="0"/>
                <a:cs typeface="Poppins" panose="00000500000000000000" pitchFamily="2" charset="0"/>
              </a:rPr>
              <a:t>capabilities matter</a:t>
            </a:r>
          </a:p>
        </p:txBody>
      </p:sp>
      <p:sp>
        <p:nvSpPr>
          <p:cNvPr id="6" name="TextBox 5">
            <a:extLst>
              <a:ext uri="{FF2B5EF4-FFF2-40B4-BE49-F238E27FC236}">
                <a16:creationId xmlns:a16="http://schemas.microsoft.com/office/drawing/2014/main" xmlns="" id="{16548C58-0BE0-48DC-BA66-2063FED4410E}"/>
              </a:ext>
            </a:extLst>
          </p:cNvPr>
          <p:cNvSpPr txBox="1"/>
          <p:nvPr/>
        </p:nvSpPr>
        <p:spPr>
          <a:xfrm>
            <a:off x="3950350" y="4280794"/>
            <a:ext cx="1867654" cy="636713"/>
          </a:xfrm>
          <a:prstGeom prst="rect">
            <a:avLst/>
          </a:prstGeom>
          <a:noFill/>
        </p:spPr>
        <p:txBody>
          <a:bodyPr wrap="square">
            <a:spAutoFit/>
          </a:bodyPr>
          <a:lstStyle/>
          <a:p>
            <a:pPr algn="ctr"/>
            <a:r>
              <a:rPr lang="en-SG" sz="1179" dirty="0">
                <a:latin typeface="Poppins" panose="00000500000000000000" pitchFamily="2" charset="0"/>
                <a:cs typeface="Poppins" panose="00000500000000000000" pitchFamily="2" charset="0"/>
              </a:rPr>
              <a:t>Effective governments create opportunities for citizens to thrive</a:t>
            </a:r>
          </a:p>
        </p:txBody>
      </p:sp>
      <p:sp>
        <p:nvSpPr>
          <p:cNvPr id="7" name="TextBox 6">
            <a:extLst>
              <a:ext uri="{FF2B5EF4-FFF2-40B4-BE49-F238E27FC236}">
                <a16:creationId xmlns:a16="http://schemas.microsoft.com/office/drawing/2014/main" xmlns="" id="{4AFBA466-B7F9-4DAC-8B00-6EA86B2771C8}"/>
              </a:ext>
            </a:extLst>
          </p:cNvPr>
          <p:cNvSpPr txBox="1"/>
          <p:nvPr/>
        </p:nvSpPr>
        <p:spPr>
          <a:xfrm>
            <a:off x="6759194" y="4230931"/>
            <a:ext cx="2124030" cy="818173"/>
          </a:xfrm>
          <a:prstGeom prst="rect">
            <a:avLst/>
          </a:prstGeom>
          <a:noFill/>
        </p:spPr>
        <p:txBody>
          <a:bodyPr wrap="square">
            <a:spAutoFit/>
          </a:bodyPr>
          <a:lstStyle/>
          <a:p>
            <a:pPr algn="ctr"/>
            <a:r>
              <a:rPr lang="en-SG" sz="1179" dirty="0">
                <a:latin typeface="Poppins" panose="00000500000000000000" pitchFamily="2" charset="0"/>
                <a:cs typeface="Poppins" panose="00000500000000000000" pitchFamily="2" charset="0"/>
              </a:rPr>
              <a:t>Good governance</a:t>
            </a:r>
          </a:p>
          <a:p>
            <a:pPr algn="ctr"/>
            <a:r>
              <a:rPr lang="en-SG" sz="1179" dirty="0">
                <a:latin typeface="Poppins" panose="00000500000000000000" pitchFamily="2" charset="0"/>
                <a:cs typeface="Poppins" panose="00000500000000000000" pitchFamily="2" charset="0"/>
              </a:rPr>
              <a:t>leads to better outcomes and increased public trust</a:t>
            </a:r>
          </a:p>
        </p:txBody>
      </p:sp>
      <p:sp>
        <p:nvSpPr>
          <p:cNvPr id="10" name="Arrow: Right 9">
            <a:extLst>
              <a:ext uri="{FF2B5EF4-FFF2-40B4-BE49-F238E27FC236}">
                <a16:creationId xmlns:a16="http://schemas.microsoft.com/office/drawing/2014/main" xmlns="" id="{C019C745-FF9D-462F-8731-241674DF8D46}"/>
              </a:ext>
            </a:extLst>
          </p:cNvPr>
          <p:cNvSpPr/>
          <p:nvPr/>
        </p:nvSpPr>
        <p:spPr>
          <a:xfrm>
            <a:off x="3251305" y="3096153"/>
            <a:ext cx="414084" cy="261134"/>
          </a:xfrm>
          <a:prstGeom prst="rightArrow">
            <a:avLst/>
          </a:prstGeom>
          <a:solidFill>
            <a:srgbClr val="966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14" name="Arrow: Right 13">
            <a:extLst>
              <a:ext uri="{FF2B5EF4-FFF2-40B4-BE49-F238E27FC236}">
                <a16:creationId xmlns:a16="http://schemas.microsoft.com/office/drawing/2014/main" xmlns="" id="{C03EB52B-5259-4CDD-BC8A-A9AD613C2144}"/>
              </a:ext>
            </a:extLst>
          </p:cNvPr>
          <p:cNvSpPr/>
          <p:nvPr/>
        </p:nvSpPr>
        <p:spPr>
          <a:xfrm>
            <a:off x="6116392" y="3096153"/>
            <a:ext cx="414084" cy="261134"/>
          </a:xfrm>
          <a:prstGeom prst="rightArrow">
            <a:avLst/>
          </a:prstGeom>
          <a:solidFill>
            <a:srgbClr val="966E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nvGrpSpPr>
          <p:cNvPr id="2" name="Group 1">
            <a:extLst>
              <a:ext uri="{FF2B5EF4-FFF2-40B4-BE49-F238E27FC236}">
                <a16:creationId xmlns:a16="http://schemas.microsoft.com/office/drawing/2014/main" xmlns="" id="{2D601189-67E9-42CB-A57C-E80927198DED}"/>
              </a:ext>
            </a:extLst>
          </p:cNvPr>
          <p:cNvGrpSpPr/>
          <p:nvPr/>
        </p:nvGrpSpPr>
        <p:grpSpPr>
          <a:xfrm>
            <a:off x="916830" y="2010444"/>
            <a:ext cx="7934695" cy="2184414"/>
            <a:chOff x="1970402" y="2036227"/>
            <a:chExt cx="9596890" cy="2642015"/>
          </a:xfrm>
        </p:grpSpPr>
        <p:pic>
          <p:nvPicPr>
            <p:cNvPr id="4" name="Picture 3">
              <a:extLst>
                <a:ext uri="{FF2B5EF4-FFF2-40B4-BE49-F238E27FC236}">
                  <a16:creationId xmlns:a16="http://schemas.microsoft.com/office/drawing/2014/main" xmlns="" id="{122BB723-2D2B-4046-940D-D26D99EE074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70402" y="2052596"/>
              <a:ext cx="2609276" cy="2571792"/>
            </a:xfrm>
            <a:prstGeom prst="ellipse">
              <a:avLst/>
            </a:prstGeom>
          </p:spPr>
        </p:pic>
        <p:pic>
          <p:nvPicPr>
            <p:cNvPr id="9" name="Picture 8">
              <a:extLst>
                <a:ext uri="{FF2B5EF4-FFF2-40B4-BE49-F238E27FC236}">
                  <a16:creationId xmlns:a16="http://schemas.microsoft.com/office/drawing/2014/main" xmlns="" id="{D93D67D1-7398-4B91-8BA9-6DA529C0DD5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703"/>
            <a:stretch/>
          </p:blipFill>
          <p:spPr>
            <a:xfrm>
              <a:off x="8958016" y="2052596"/>
              <a:ext cx="2609276" cy="2609276"/>
            </a:xfrm>
            <a:prstGeom prst="ellipse">
              <a:avLst/>
            </a:prstGeom>
          </p:spPr>
        </p:pic>
        <p:pic>
          <p:nvPicPr>
            <p:cNvPr id="15" name="Picture 14">
              <a:extLst>
                <a:ext uri="{FF2B5EF4-FFF2-40B4-BE49-F238E27FC236}">
                  <a16:creationId xmlns:a16="http://schemas.microsoft.com/office/drawing/2014/main" xmlns="" id="{3EF72A8F-C5F3-4B78-9E81-B709D38BE81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64209" y="2036227"/>
              <a:ext cx="2609276" cy="2642015"/>
            </a:xfrm>
            <a:prstGeom prst="ellipse">
              <a:avLst/>
            </a:prstGeom>
          </p:spPr>
        </p:pic>
      </p:grpSp>
    </p:spTree>
    <p:extLst>
      <p:ext uri="{BB962C8B-B14F-4D97-AF65-F5344CB8AC3E}">
        <p14:creationId xmlns:p14="http://schemas.microsoft.com/office/powerpoint/2010/main" val="14845794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xmlns="" id="{4E840C33-DDA9-4E59-972E-5E4F804A05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905999" cy="6915630"/>
          </a:xfrm>
          <a:prstGeom prst="rect">
            <a:avLst/>
          </a:prstGeom>
        </p:spPr>
      </p:pic>
      <p:sp>
        <p:nvSpPr>
          <p:cNvPr id="2" name="Rectangle 1">
            <a:extLst>
              <a:ext uri="{FF2B5EF4-FFF2-40B4-BE49-F238E27FC236}">
                <a16:creationId xmlns:a16="http://schemas.microsoft.com/office/drawing/2014/main" xmlns="" id="{B0584951-304A-4740-99CB-C1E8A96BF7BC}"/>
              </a:ext>
            </a:extLst>
          </p:cNvPr>
          <p:cNvSpPr/>
          <p:nvPr/>
        </p:nvSpPr>
        <p:spPr>
          <a:xfrm>
            <a:off x="1" y="5000313"/>
            <a:ext cx="9906000" cy="1915317"/>
          </a:xfrm>
          <a:prstGeom prst="rect">
            <a:avLst/>
          </a:prstGeom>
          <a:gradFill flip="none" rotWithShape="1">
            <a:gsLst>
              <a:gs pos="0">
                <a:schemeClr val="tx1">
                  <a:lumMod val="50000"/>
                </a:schemeClr>
              </a:gs>
              <a:gs pos="50000">
                <a:schemeClr val="tx1">
                  <a:lumMod val="50000"/>
                  <a:alpha val="16000"/>
                </a:schemeClr>
              </a:gs>
              <a:gs pos="100000">
                <a:schemeClr val="tx1">
                  <a:lumMod val="50000"/>
                  <a:alpha val="0"/>
                </a:schemeClr>
              </a:gs>
              <a:gs pos="0">
                <a:schemeClr val="tx1">
                  <a:lumMod val="50000"/>
                  <a:alpha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6" name="Rectangle 5">
            <a:extLst>
              <a:ext uri="{FF2B5EF4-FFF2-40B4-BE49-F238E27FC236}">
                <a16:creationId xmlns:a16="http://schemas.microsoft.com/office/drawing/2014/main" xmlns="" id="{95054EDF-5CCF-4E8D-945D-C169B6DF235A}"/>
              </a:ext>
            </a:extLst>
          </p:cNvPr>
          <p:cNvSpPr/>
          <p:nvPr/>
        </p:nvSpPr>
        <p:spPr>
          <a:xfrm>
            <a:off x="358151" y="5119053"/>
            <a:ext cx="4846246" cy="748692"/>
          </a:xfrm>
          <a:prstGeom prst="rect">
            <a:avLst/>
          </a:prstGeom>
          <a:noFill/>
          <a:effectLst>
            <a:outerShdw blurRad="50800" dist="38100" dir="5400000" algn="t" rotWithShape="0">
              <a:prstClr val="black">
                <a:alpha val="40000"/>
              </a:prstClr>
            </a:outerShdw>
          </a:effectLst>
        </p:spPr>
        <p:txBody>
          <a:bodyPr wrap="none" lIns="67397" tIns="33699" rIns="67397" bIns="33699">
            <a:spAutoFit/>
          </a:bodyPr>
          <a:lstStyle/>
          <a:p>
            <a:r>
              <a:rPr lang="en-GB" sz="4423" dirty="0">
                <a:solidFill>
                  <a:schemeClr val="bg1"/>
                </a:solidFill>
                <a:latin typeface="Gill Sans MT Std Medium" panose="020B0602020104020203" pitchFamily="34" charset="0"/>
              </a:rPr>
              <a:t>Trust in Governance</a:t>
            </a:r>
            <a:endParaRPr lang="en-US" sz="4423" dirty="0">
              <a:ln w="0"/>
              <a:solidFill>
                <a:schemeClr val="bg1"/>
              </a:solidFill>
              <a:latin typeface="Gill Sans MT Std Medium" panose="020B0602020104020203" pitchFamily="34" charset="0"/>
            </a:endParaRPr>
          </a:p>
        </p:txBody>
      </p:sp>
      <p:sp>
        <p:nvSpPr>
          <p:cNvPr id="7" name="Rectangle 6">
            <a:extLst>
              <a:ext uri="{FF2B5EF4-FFF2-40B4-BE49-F238E27FC236}">
                <a16:creationId xmlns:a16="http://schemas.microsoft.com/office/drawing/2014/main" xmlns="" id="{37D1D511-DA88-4976-941B-01FA8CDA006D}"/>
              </a:ext>
            </a:extLst>
          </p:cNvPr>
          <p:cNvSpPr/>
          <p:nvPr/>
        </p:nvSpPr>
        <p:spPr>
          <a:xfrm>
            <a:off x="358151" y="5784939"/>
            <a:ext cx="6160992" cy="521770"/>
          </a:xfrm>
          <a:prstGeom prst="rect">
            <a:avLst/>
          </a:prstGeom>
          <a:noFill/>
        </p:spPr>
        <p:txBody>
          <a:bodyPr wrap="square" lIns="67397" tIns="33699" rIns="67397" bIns="33699">
            <a:spAutoFit/>
          </a:bodyPr>
          <a:lstStyle/>
          <a:p>
            <a:r>
              <a:rPr lang="en-GB" sz="1474"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rPr>
              <a:t>Visit the CGGI website at </a:t>
            </a:r>
            <a:r>
              <a:rPr lang="en-GB" sz="1474"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hlinkClick r:id="rId4">
                  <a:extLst>
                    <a:ext uri="{A12FA001-AC4F-418D-AE19-62706E023703}">
                      <ahyp:hlinkClr xmlns:ahyp="http://schemas.microsoft.com/office/drawing/2018/hyperlinkcolor" xmlns="" val="tx"/>
                    </a:ext>
                  </a:extLst>
                </a:hlinkClick>
              </a:rPr>
              <a:t>www.chandlergovernmentindex.com</a:t>
            </a:r>
            <a:endParaRPr lang="en-GB" sz="1474"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endParaRPr>
          </a:p>
          <a:p>
            <a:r>
              <a:rPr lang="en-US" sz="1474"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rPr>
              <a:t>Follow CIG, @ChandlerINST on</a:t>
            </a:r>
          </a:p>
        </p:txBody>
      </p:sp>
      <p:grpSp>
        <p:nvGrpSpPr>
          <p:cNvPr id="24" name="Group 23">
            <a:extLst>
              <a:ext uri="{FF2B5EF4-FFF2-40B4-BE49-F238E27FC236}">
                <a16:creationId xmlns:a16="http://schemas.microsoft.com/office/drawing/2014/main" xmlns="" id="{23A708B0-29D9-48D3-88F9-91385311C75F}"/>
              </a:ext>
            </a:extLst>
          </p:cNvPr>
          <p:cNvGrpSpPr/>
          <p:nvPr/>
        </p:nvGrpSpPr>
        <p:grpSpPr>
          <a:xfrm>
            <a:off x="424871" y="6386559"/>
            <a:ext cx="796919" cy="212196"/>
            <a:chOff x="4907212" y="7043448"/>
            <a:chExt cx="1081205" cy="287893"/>
          </a:xfrm>
          <a:effectLst>
            <a:outerShdw blurRad="50800" dist="38100" dir="2700000" algn="tl" rotWithShape="0">
              <a:prstClr val="black">
                <a:alpha val="40000"/>
              </a:prstClr>
            </a:outerShdw>
          </a:effectLst>
        </p:grpSpPr>
        <p:pic>
          <p:nvPicPr>
            <p:cNvPr id="19" name="Graphic 18">
              <a:extLst>
                <a:ext uri="{FF2B5EF4-FFF2-40B4-BE49-F238E27FC236}">
                  <a16:creationId xmlns:a16="http://schemas.microsoft.com/office/drawing/2014/main" xmlns="" id="{5AD53886-EF86-44DA-8B16-8C48DE52EFF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4907212" y="7076499"/>
              <a:ext cx="254842" cy="254842"/>
            </a:xfrm>
            <a:prstGeom prst="rect">
              <a:avLst/>
            </a:prstGeom>
          </p:spPr>
        </p:pic>
        <p:pic>
          <p:nvPicPr>
            <p:cNvPr id="21" name="Graphic 20">
              <a:extLst>
                <a:ext uri="{FF2B5EF4-FFF2-40B4-BE49-F238E27FC236}">
                  <a16:creationId xmlns:a16="http://schemas.microsoft.com/office/drawing/2014/main" xmlns="" id="{4F4425CE-5DA0-485A-A041-9C2A9C2E8642}"/>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xmlns="" r:embed="rId8"/>
                </a:ext>
              </a:extLst>
            </a:blip>
            <a:stretch>
              <a:fillRect/>
            </a:stretch>
          </p:blipFill>
          <p:spPr>
            <a:xfrm>
              <a:off x="5733575" y="7043448"/>
              <a:ext cx="254842" cy="254842"/>
            </a:xfrm>
            <a:prstGeom prst="rect">
              <a:avLst/>
            </a:prstGeom>
          </p:spPr>
        </p:pic>
        <p:pic>
          <p:nvPicPr>
            <p:cNvPr id="23" name="Graphic 22">
              <a:extLst>
                <a:ext uri="{FF2B5EF4-FFF2-40B4-BE49-F238E27FC236}">
                  <a16:creationId xmlns:a16="http://schemas.microsoft.com/office/drawing/2014/main" xmlns="" id="{2F1C4439-D043-4442-85EC-F18B35F5E9AC}"/>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5296305" y="7076499"/>
              <a:ext cx="254842" cy="254842"/>
            </a:xfrm>
            <a:prstGeom prst="rect">
              <a:avLst/>
            </a:prstGeom>
          </p:spPr>
        </p:pic>
      </p:grpSp>
      <p:pic>
        <p:nvPicPr>
          <p:cNvPr id="4" name="Picture 3">
            <a:extLst>
              <a:ext uri="{FF2B5EF4-FFF2-40B4-BE49-F238E27FC236}">
                <a16:creationId xmlns:a16="http://schemas.microsoft.com/office/drawing/2014/main" xmlns="" id="{D68999C7-DD0C-4D11-B8C6-34F031F8D0AE}"/>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563843" y="5233173"/>
            <a:ext cx="860453" cy="860453"/>
          </a:xfrm>
          <a:prstGeom prst="rect">
            <a:avLst/>
          </a:prstGeom>
        </p:spPr>
      </p:pic>
      <p:sp>
        <p:nvSpPr>
          <p:cNvPr id="13" name="Rectangle 12">
            <a:extLst>
              <a:ext uri="{FF2B5EF4-FFF2-40B4-BE49-F238E27FC236}">
                <a16:creationId xmlns:a16="http://schemas.microsoft.com/office/drawing/2014/main" xmlns="" id="{58E62126-7947-4AA6-9867-CFB86CBD12C9}"/>
              </a:ext>
            </a:extLst>
          </p:cNvPr>
          <p:cNvSpPr/>
          <p:nvPr/>
        </p:nvSpPr>
        <p:spPr>
          <a:xfrm>
            <a:off x="7731071" y="6093625"/>
            <a:ext cx="1750059" cy="499136"/>
          </a:xfrm>
          <a:prstGeom prst="rect">
            <a:avLst/>
          </a:prstGeom>
          <a:noFill/>
        </p:spPr>
        <p:txBody>
          <a:bodyPr wrap="square" lIns="67397" tIns="33699" rIns="67397" bIns="33699">
            <a:spAutoFit/>
          </a:bodyPr>
          <a:lstStyle/>
          <a:p>
            <a:pPr algn="r"/>
            <a:r>
              <a:rPr lang="en-US" sz="1032"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rPr>
              <a:t>Learn more, by exploring</a:t>
            </a:r>
          </a:p>
          <a:p>
            <a:pPr algn="r"/>
            <a:r>
              <a:rPr lang="en-US" sz="1032"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rPr>
              <a:t>the CGGI Website</a:t>
            </a:r>
          </a:p>
          <a:p>
            <a:pPr algn="r"/>
            <a:r>
              <a:rPr lang="en-US" sz="737" dirty="0">
                <a:ln w="0"/>
                <a:solidFill>
                  <a:schemeClr val="bg1"/>
                </a:solidFill>
                <a:effectLst>
                  <a:outerShdw blurRad="50800" dist="38100" dir="2700000" algn="tl" rotWithShape="0">
                    <a:prstClr val="black">
                      <a:alpha val="40000"/>
                    </a:prstClr>
                  </a:outerShdw>
                </a:effectLst>
                <a:latin typeface="Gill Sans MT Std Medium" panose="020B0602020104020203" pitchFamily="34" charset="0"/>
              </a:rPr>
              <a:t>Scan the QR code to view website</a:t>
            </a:r>
          </a:p>
        </p:txBody>
      </p:sp>
      <p:grpSp>
        <p:nvGrpSpPr>
          <p:cNvPr id="14" name="Group 13">
            <a:extLst>
              <a:ext uri="{FF2B5EF4-FFF2-40B4-BE49-F238E27FC236}">
                <a16:creationId xmlns:a16="http://schemas.microsoft.com/office/drawing/2014/main" xmlns="" id="{535D50B6-3DB4-493D-82D1-F0FF9BB73607}"/>
              </a:ext>
            </a:extLst>
          </p:cNvPr>
          <p:cNvGrpSpPr/>
          <p:nvPr/>
        </p:nvGrpSpPr>
        <p:grpSpPr>
          <a:xfrm>
            <a:off x="467567" y="374067"/>
            <a:ext cx="1920020" cy="1136120"/>
            <a:chOff x="3657599" y="1033707"/>
            <a:chExt cx="3376613" cy="1998018"/>
          </a:xfrm>
        </p:grpSpPr>
        <p:pic>
          <p:nvPicPr>
            <p:cNvPr id="15" name="Picture 14">
              <a:extLst>
                <a:ext uri="{FF2B5EF4-FFF2-40B4-BE49-F238E27FC236}">
                  <a16:creationId xmlns:a16="http://schemas.microsoft.com/office/drawing/2014/main" xmlns="" id="{4155F0A7-9CCA-4C07-93B6-975A6572A3CC}"/>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3657599" y="2031914"/>
              <a:ext cx="3376613" cy="999811"/>
            </a:xfrm>
            <a:prstGeom prst="rect">
              <a:avLst/>
            </a:prstGeom>
          </p:spPr>
        </p:pic>
        <p:pic>
          <p:nvPicPr>
            <p:cNvPr id="16" name="Graphic 15">
              <a:extLst>
                <a:ext uri="{FF2B5EF4-FFF2-40B4-BE49-F238E27FC236}">
                  <a16:creationId xmlns:a16="http://schemas.microsoft.com/office/drawing/2014/main" xmlns="" id="{F5B09610-A42C-4B6F-A91D-53BCFC503270}"/>
                </a:ext>
              </a:extLst>
            </p:cNvPr>
            <p:cNvPicPr>
              <a:picLocks noChangeAspect="1"/>
            </p:cNvPicPr>
            <p:nvPr/>
          </p:nvPicPr>
          <p:blipFill rotWithShape="1">
            <a:blip r:embed="rId13" cstate="print">
              <a:extLst>
                <a:ext uri="{28A0092B-C50C-407E-A947-70E740481C1C}">
                  <a14:useLocalDpi xmlns:a14="http://schemas.microsoft.com/office/drawing/2010/main"/>
                </a:ext>
                <a:ext uri="{96DAC541-7B7A-43D3-8B79-37D633B846F1}">
                  <asvg:svgBlip xmlns:asvg="http://schemas.microsoft.com/office/drawing/2016/SVG/main" xmlns="" r:embed="rId14"/>
                </a:ext>
              </a:extLst>
            </a:blip>
            <a:srcRect l="33427" t="4865" r="33586" b="48547"/>
            <a:stretch/>
          </p:blipFill>
          <p:spPr>
            <a:xfrm>
              <a:off x="4810124" y="1033707"/>
              <a:ext cx="1138235" cy="998208"/>
            </a:xfrm>
            <a:prstGeom prst="rect">
              <a:avLst/>
            </a:prstGeom>
          </p:spPr>
        </p:pic>
      </p:grpSp>
    </p:spTree>
    <p:extLst>
      <p:ext uri="{BB962C8B-B14F-4D97-AF65-F5344CB8AC3E}">
        <p14:creationId xmlns:p14="http://schemas.microsoft.com/office/powerpoint/2010/main" val="26050555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xmlns="" id="{05C693C9-FEF2-4A42-8ECF-2D119D6E685A}"/>
              </a:ext>
            </a:extLst>
          </p:cNvPr>
          <p:cNvGraphicFramePr>
            <a:graphicFrameLocks noGrp="1"/>
          </p:cNvGraphicFramePr>
          <p:nvPr>
            <p:extLst>
              <p:ext uri="{D42A27DB-BD31-4B8C-83A1-F6EECF244321}">
                <p14:modId xmlns:p14="http://schemas.microsoft.com/office/powerpoint/2010/main" val="1872365879"/>
              </p:ext>
            </p:extLst>
          </p:nvPr>
        </p:nvGraphicFramePr>
        <p:xfrm>
          <a:off x="516410" y="1489269"/>
          <a:ext cx="1908022" cy="4227259"/>
        </p:xfrm>
        <a:graphic>
          <a:graphicData uri="http://schemas.openxmlformats.org/drawingml/2006/table">
            <a:tbl>
              <a:tblPr firstRow="1" bandRow="1">
                <a:tableStyleId>{5C22544A-7EE6-4342-B048-85BDC9FD1C3A}</a:tableStyleId>
              </a:tblPr>
              <a:tblGrid>
                <a:gridCol w="1050570">
                  <a:extLst>
                    <a:ext uri="{9D8B030D-6E8A-4147-A177-3AD203B41FA5}">
                      <a16:colId xmlns:a16="http://schemas.microsoft.com/office/drawing/2014/main" xmlns="" val="2923036836"/>
                    </a:ext>
                  </a:extLst>
                </a:gridCol>
                <a:gridCol w="428726">
                  <a:extLst>
                    <a:ext uri="{9D8B030D-6E8A-4147-A177-3AD203B41FA5}">
                      <a16:colId xmlns:a16="http://schemas.microsoft.com/office/drawing/2014/main" xmlns="" val="1375252717"/>
                    </a:ext>
                  </a:extLst>
                </a:gridCol>
                <a:gridCol w="428726">
                  <a:extLst>
                    <a:ext uri="{9D8B030D-6E8A-4147-A177-3AD203B41FA5}">
                      <a16:colId xmlns:a16="http://schemas.microsoft.com/office/drawing/2014/main" xmlns="" val="291605258"/>
                    </a:ext>
                  </a:extLst>
                </a:gridCol>
              </a:tblGrid>
              <a:tr h="289056">
                <a:tc>
                  <a:txBody>
                    <a:bodyPr/>
                    <a:lstStyle/>
                    <a:p>
                      <a:pPr algn="l" fontAlgn="ctr"/>
                      <a:r>
                        <a:rPr lang="en-SG" sz="700" b="0" i="0" u="none" strike="noStrike" dirty="0">
                          <a:solidFill>
                            <a:schemeClr val="bg1"/>
                          </a:solidFill>
                          <a:effectLst/>
                          <a:latin typeface="Gill Sans Std Light" panose="020B0302020104020203" pitchFamily="34" charset="0"/>
                        </a:rPr>
                        <a:t>Country</a:t>
                      </a:r>
                    </a:p>
                  </a:txBody>
                  <a:tcPr marL="33699"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Rank</a:t>
                      </a:r>
                    </a:p>
                  </a:txBody>
                  <a:tcPr marL="2808"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Score</a:t>
                      </a:r>
                    </a:p>
                  </a:txBody>
                  <a:tcPr marL="2808" marR="2808" marT="2808" marB="0" anchor="ctr">
                    <a:lnB w="3175" cap="flat" cmpd="sng" algn="ctr">
                      <a:noFill/>
                      <a:prstDash val="solid"/>
                      <a:round/>
                      <a:headEnd type="none" w="med" len="med"/>
                      <a:tailEnd type="none" w="med" len="med"/>
                    </a:lnB>
                    <a:solidFill>
                      <a:srgbClr val="21284C"/>
                    </a:solidFill>
                  </a:tcPr>
                </a:tc>
                <a:extLst>
                  <a:ext uri="{0D108BD9-81ED-4DB2-BD59-A6C34878D82A}">
                    <a16:rowId xmlns:a16="http://schemas.microsoft.com/office/drawing/2014/main" xmlns="" val="4244466117"/>
                  </a:ext>
                </a:extLst>
              </a:tr>
              <a:tr h="148434">
                <a:tc>
                  <a:txBody>
                    <a:bodyPr/>
                    <a:lstStyle/>
                    <a:p>
                      <a:pPr algn="l" fontAlgn="b"/>
                      <a:r>
                        <a:rPr lang="en-SG" sz="700" b="0" i="0" u="none" strike="noStrike" dirty="0">
                          <a:solidFill>
                            <a:srgbClr val="000000"/>
                          </a:solidFill>
                          <a:effectLst/>
                          <a:latin typeface="Futura PT Light" panose="020B0402020204020303"/>
                        </a:rPr>
                        <a:t>Fin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84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192203624"/>
                  </a:ext>
                </a:extLst>
              </a:tr>
              <a:tr h="148434">
                <a:tc>
                  <a:txBody>
                    <a:bodyPr/>
                    <a:lstStyle/>
                    <a:p>
                      <a:pPr algn="l" fontAlgn="b"/>
                      <a:r>
                        <a:rPr lang="en-SG" sz="700" b="0" i="0" u="none" strike="noStrike" dirty="0">
                          <a:solidFill>
                            <a:srgbClr val="000000"/>
                          </a:solidFill>
                          <a:effectLst/>
                          <a:latin typeface="Futura PT Light" panose="020B0402020204020303"/>
                        </a:rPr>
                        <a:t>Switzer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1F274C">
                        <a:alpha val="5098"/>
                      </a:srgbClr>
                    </a:solidFill>
                  </a:tcPr>
                </a:tc>
                <a:tc>
                  <a:txBody>
                    <a:bodyPr/>
                    <a:lstStyle/>
                    <a:p>
                      <a:pPr algn="ctr" fontAlgn="b"/>
                      <a:r>
                        <a:rPr lang="en-SG" sz="700" b="0" i="0" u="none" strike="noStrike">
                          <a:solidFill>
                            <a:srgbClr val="000000"/>
                          </a:solidFill>
                          <a:effectLst/>
                          <a:latin typeface="Futura PT Light" panose="020B0402020204020303"/>
                        </a:rPr>
                        <a:t>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1F274C">
                        <a:alpha val="5098"/>
                      </a:srgbClr>
                    </a:solidFill>
                  </a:tcPr>
                </a:tc>
                <a:tc>
                  <a:txBody>
                    <a:bodyPr/>
                    <a:lstStyle/>
                    <a:p>
                      <a:pPr algn="ctr" fontAlgn="b"/>
                      <a:r>
                        <a:rPr lang="en-SG" sz="700" b="0" i="0" u="none" strike="noStrike">
                          <a:solidFill>
                            <a:srgbClr val="000000"/>
                          </a:solidFill>
                          <a:effectLst/>
                          <a:latin typeface="Futura PT Light" panose="020B0402020204020303"/>
                        </a:rPr>
                        <a:t>0.84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1F274C">
                        <a:alpha val="5098"/>
                      </a:srgbClr>
                    </a:solidFill>
                  </a:tcPr>
                </a:tc>
                <a:extLst>
                  <a:ext uri="{0D108BD9-81ED-4DB2-BD59-A6C34878D82A}">
                    <a16:rowId xmlns:a16="http://schemas.microsoft.com/office/drawing/2014/main" xmlns="" val="1385414383"/>
                  </a:ext>
                </a:extLst>
              </a:tr>
              <a:tr h="148434">
                <a:tc>
                  <a:txBody>
                    <a:bodyPr/>
                    <a:lstStyle/>
                    <a:p>
                      <a:pPr algn="l" fontAlgn="b"/>
                      <a:r>
                        <a:rPr lang="en-SG" sz="700" b="0" i="0" u="none" strike="noStrike" dirty="0">
                          <a:solidFill>
                            <a:srgbClr val="000000"/>
                          </a:solidFill>
                          <a:effectLst/>
                          <a:latin typeface="Futura PT Light" panose="020B0402020204020303"/>
                        </a:rPr>
                        <a:t>Singapor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84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892664313"/>
                  </a:ext>
                </a:extLst>
              </a:tr>
              <a:tr h="148434">
                <a:tc>
                  <a:txBody>
                    <a:bodyPr/>
                    <a:lstStyle/>
                    <a:p>
                      <a:pPr algn="l" fontAlgn="b"/>
                      <a:r>
                        <a:rPr lang="en-SG" sz="700" b="0" i="0" u="none" strike="noStrike" dirty="0">
                          <a:solidFill>
                            <a:srgbClr val="000000"/>
                          </a:solidFill>
                          <a:effectLst/>
                          <a:latin typeface="Futura PT Light" panose="020B0402020204020303"/>
                        </a:rPr>
                        <a:t>Denmark</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83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414547657"/>
                  </a:ext>
                </a:extLst>
              </a:tr>
              <a:tr h="148434">
                <a:tc>
                  <a:txBody>
                    <a:bodyPr/>
                    <a:lstStyle/>
                    <a:p>
                      <a:pPr algn="l" fontAlgn="b"/>
                      <a:r>
                        <a:rPr lang="en-SG" sz="700" b="0" i="0" u="none" strike="noStrike" dirty="0">
                          <a:solidFill>
                            <a:srgbClr val="000000"/>
                          </a:solidFill>
                          <a:effectLst/>
                          <a:latin typeface="Futura PT Light" panose="020B0402020204020303"/>
                        </a:rPr>
                        <a:t>Netherland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82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187770635"/>
                  </a:ext>
                </a:extLst>
              </a:tr>
              <a:tr h="148434">
                <a:tc>
                  <a:txBody>
                    <a:bodyPr/>
                    <a:lstStyle/>
                    <a:p>
                      <a:pPr algn="l" fontAlgn="b"/>
                      <a:r>
                        <a:rPr lang="en-SG" sz="700" b="0" i="0" u="none" strike="noStrike" dirty="0">
                          <a:solidFill>
                            <a:srgbClr val="000000"/>
                          </a:solidFill>
                          <a:effectLst/>
                          <a:latin typeface="Futura PT Light" panose="020B0402020204020303"/>
                        </a:rPr>
                        <a:t>Norwa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82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2622486499"/>
                  </a:ext>
                </a:extLst>
              </a:tr>
              <a:tr h="148434">
                <a:tc>
                  <a:txBody>
                    <a:bodyPr/>
                    <a:lstStyle/>
                    <a:p>
                      <a:pPr algn="l" fontAlgn="b"/>
                      <a:r>
                        <a:rPr lang="en-SG" sz="700" b="0" i="0" u="none" strike="noStrike" dirty="0">
                          <a:solidFill>
                            <a:srgbClr val="000000"/>
                          </a:solidFill>
                          <a:effectLst/>
                          <a:latin typeface="Futura PT Light" panose="020B0402020204020303"/>
                        </a:rPr>
                        <a:t>Swede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82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178409923"/>
                  </a:ext>
                </a:extLst>
              </a:tr>
              <a:tr h="148434">
                <a:tc>
                  <a:txBody>
                    <a:bodyPr/>
                    <a:lstStyle/>
                    <a:p>
                      <a:pPr algn="l" fontAlgn="b"/>
                      <a:r>
                        <a:rPr lang="en-SG" sz="700" b="0" i="0" u="none" strike="noStrike" dirty="0">
                          <a:solidFill>
                            <a:srgbClr val="000000"/>
                          </a:solidFill>
                          <a:effectLst/>
                          <a:latin typeface="Futura PT Light" panose="020B0402020204020303"/>
                        </a:rPr>
                        <a:t>German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80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3264188818"/>
                  </a:ext>
                </a:extLst>
              </a:tr>
              <a:tr h="148434">
                <a:tc>
                  <a:txBody>
                    <a:bodyPr/>
                    <a:lstStyle/>
                    <a:p>
                      <a:pPr algn="l" fontAlgn="b"/>
                      <a:r>
                        <a:rPr lang="en-SG" sz="700" b="0" i="0" u="none" strike="noStrike" dirty="0">
                          <a:solidFill>
                            <a:srgbClr val="000000"/>
                          </a:solidFill>
                          <a:effectLst/>
                          <a:latin typeface="Futura PT Light" panose="020B0402020204020303"/>
                        </a:rPr>
                        <a:t>New Zea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78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580803853"/>
                  </a:ext>
                </a:extLst>
              </a:tr>
              <a:tr h="148434">
                <a:tc>
                  <a:txBody>
                    <a:bodyPr/>
                    <a:lstStyle/>
                    <a:p>
                      <a:pPr algn="l" fontAlgn="b"/>
                      <a:r>
                        <a:rPr lang="en-SG" sz="700" b="0" i="0" u="none" strike="noStrike" dirty="0">
                          <a:solidFill>
                            <a:srgbClr val="000000"/>
                          </a:solidFill>
                          <a:effectLst/>
                          <a:latin typeface="Futura PT Light" panose="020B0402020204020303"/>
                        </a:rPr>
                        <a:t>United </a:t>
                      </a:r>
                      <a:r>
                        <a:rPr lang="en-SG" sz="700" b="0" i="0" u="none" strike="noStrike" kern="1200" dirty="0">
                          <a:solidFill>
                            <a:srgbClr val="000000"/>
                          </a:solidFill>
                          <a:effectLst/>
                          <a:latin typeface="Futura PT Light" panose="020B0402020204020303"/>
                          <a:ea typeface="+mn-ea"/>
                          <a:cs typeface="+mn-cs"/>
                        </a:rPr>
                        <a:t>Kingdom</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1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77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905516273"/>
                  </a:ext>
                </a:extLst>
              </a:tr>
              <a:tr h="148434">
                <a:tc>
                  <a:txBody>
                    <a:bodyPr/>
                    <a:lstStyle/>
                    <a:p>
                      <a:pPr algn="l" fontAlgn="b"/>
                      <a:r>
                        <a:rPr lang="en-SG" sz="700" b="0" i="0" u="none" strike="noStrike" dirty="0">
                          <a:solidFill>
                            <a:srgbClr val="000000"/>
                          </a:solidFill>
                          <a:effectLst/>
                          <a:latin typeface="Futura PT Light" panose="020B0402020204020303"/>
                        </a:rPr>
                        <a:t>Ire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1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77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080809609"/>
                  </a:ext>
                </a:extLst>
              </a:tr>
              <a:tr h="148434">
                <a:tc>
                  <a:txBody>
                    <a:bodyPr/>
                    <a:lstStyle/>
                    <a:p>
                      <a:pPr algn="l" fontAlgn="b"/>
                      <a:r>
                        <a:rPr lang="en-SG" sz="700" b="0" i="0" u="none" strike="noStrike" dirty="0">
                          <a:solidFill>
                            <a:srgbClr val="000000"/>
                          </a:solidFill>
                          <a:effectLst/>
                          <a:latin typeface="Futura PT Light" panose="020B0402020204020303"/>
                        </a:rPr>
                        <a:t>Austr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1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76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003173095"/>
                  </a:ext>
                </a:extLst>
              </a:tr>
              <a:tr h="148434">
                <a:tc>
                  <a:txBody>
                    <a:bodyPr/>
                    <a:lstStyle/>
                    <a:p>
                      <a:pPr algn="l" fontAlgn="b"/>
                      <a:r>
                        <a:rPr lang="en-SG" sz="700" b="0" i="0" u="none" strike="noStrike" dirty="0">
                          <a:solidFill>
                            <a:srgbClr val="000000"/>
                          </a:solidFill>
                          <a:effectLst/>
                          <a:latin typeface="Futura PT Light" panose="020B0402020204020303"/>
                        </a:rPr>
                        <a:t>Canad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1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76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724028217"/>
                  </a:ext>
                </a:extLst>
              </a:tr>
              <a:tr h="148434">
                <a:tc>
                  <a:txBody>
                    <a:bodyPr/>
                    <a:lstStyle/>
                    <a:p>
                      <a:pPr algn="l" fontAlgn="b"/>
                      <a:r>
                        <a:rPr lang="en-SG" sz="700" b="0" i="0" u="none" strike="noStrike" dirty="0">
                          <a:solidFill>
                            <a:srgbClr val="000000"/>
                          </a:solidFill>
                          <a:effectLst/>
                          <a:latin typeface="Futura PT Light" panose="020B0402020204020303"/>
                        </a:rPr>
                        <a:t>Esto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1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75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424188486"/>
                  </a:ext>
                </a:extLst>
              </a:tr>
              <a:tr h="148434">
                <a:tc>
                  <a:txBody>
                    <a:bodyPr/>
                    <a:lstStyle/>
                    <a:p>
                      <a:pPr algn="l" fontAlgn="b"/>
                      <a:r>
                        <a:rPr lang="en-SG" sz="700" b="0" i="0" u="none" strike="noStrike" dirty="0">
                          <a:solidFill>
                            <a:srgbClr val="000000"/>
                          </a:solidFill>
                          <a:effectLst/>
                          <a:latin typeface="Futura PT Light" panose="020B0402020204020303"/>
                        </a:rPr>
                        <a:t>Jap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1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75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74292897"/>
                  </a:ext>
                </a:extLst>
              </a:tr>
              <a:tr h="148434">
                <a:tc>
                  <a:txBody>
                    <a:bodyPr/>
                    <a:lstStyle/>
                    <a:p>
                      <a:pPr algn="l" fontAlgn="b"/>
                      <a:r>
                        <a:rPr lang="en-SG" sz="700" b="0" i="0" u="none" strike="noStrike" dirty="0">
                          <a:solidFill>
                            <a:srgbClr val="000000"/>
                          </a:solidFill>
                          <a:effectLst/>
                          <a:latin typeface="Futura PT Light" panose="020B0402020204020303"/>
                        </a:rPr>
                        <a:t>Franc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1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74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680986359"/>
                  </a:ext>
                </a:extLst>
              </a:tr>
              <a:tr h="148434">
                <a:tc>
                  <a:txBody>
                    <a:bodyPr/>
                    <a:lstStyle/>
                    <a:p>
                      <a:pPr algn="l" fontAlgn="b"/>
                      <a:r>
                        <a:rPr lang="en-SG" sz="700" b="0" i="0" u="none" strike="noStrike" dirty="0">
                          <a:solidFill>
                            <a:srgbClr val="000000"/>
                          </a:solidFill>
                          <a:effectLst/>
                          <a:latin typeface="Futura PT Light" panose="020B0402020204020303"/>
                        </a:rPr>
                        <a:t>Austral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1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74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932635975"/>
                  </a:ext>
                </a:extLst>
              </a:tr>
              <a:tr h="148434">
                <a:tc>
                  <a:txBody>
                    <a:bodyPr/>
                    <a:lstStyle/>
                    <a:p>
                      <a:pPr algn="l" fontAlgn="b"/>
                      <a:r>
                        <a:rPr lang="en-SG" sz="700" b="0" i="0" u="none" strike="noStrike" dirty="0">
                          <a:solidFill>
                            <a:srgbClr val="000000"/>
                          </a:solidFill>
                          <a:effectLst/>
                          <a:latin typeface="Futura PT Light" panose="020B0402020204020303"/>
                        </a:rPr>
                        <a:t>United State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1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73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177118721"/>
                  </a:ext>
                </a:extLst>
              </a:tr>
              <a:tr h="148434">
                <a:tc>
                  <a:txBody>
                    <a:bodyPr/>
                    <a:lstStyle/>
                    <a:p>
                      <a:pPr algn="l" fontAlgn="b"/>
                      <a:r>
                        <a:rPr lang="en-SG" sz="700" b="0" i="0" u="none" strike="noStrike">
                          <a:solidFill>
                            <a:srgbClr val="000000"/>
                          </a:solidFill>
                          <a:effectLst/>
                          <a:latin typeface="Futura PT Light" panose="020B0402020204020303"/>
                        </a:rPr>
                        <a:t>Ice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dirty="0">
                          <a:solidFill>
                            <a:srgbClr val="000000"/>
                          </a:solidFill>
                          <a:effectLst/>
                          <a:latin typeface="Futura PT Light" panose="020B0402020204020303"/>
                        </a:rPr>
                        <a:t>1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73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404447683"/>
                  </a:ext>
                </a:extLst>
              </a:tr>
              <a:tr h="148434">
                <a:tc>
                  <a:txBody>
                    <a:bodyPr/>
                    <a:lstStyle/>
                    <a:p>
                      <a:pPr algn="l" fontAlgn="b"/>
                      <a:r>
                        <a:rPr lang="en-SG" sz="700" b="0" i="0" u="none" strike="noStrike">
                          <a:solidFill>
                            <a:srgbClr val="000000"/>
                          </a:solidFill>
                          <a:effectLst/>
                          <a:latin typeface="Futura PT Light" panose="020B0402020204020303"/>
                        </a:rPr>
                        <a:t>South Kore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1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73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1979947126"/>
                  </a:ext>
                </a:extLst>
              </a:tr>
              <a:tr h="148434">
                <a:tc>
                  <a:txBody>
                    <a:bodyPr/>
                    <a:lstStyle/>
                    <a:p>
                      <a:pPr algn="l" fontAlgn="b"/>
                      <a:r>
                        <a:rPr lang="en-SG" sz="700" b="0" i="0" u="none" strike="noStrike">
                          <a:solidFill>
                            <a:srgbClr val="000000"/>
                          </a:solidFill>
                          <a:effectLst/>
                          <a:latin typeface="Futura PT Light" panose="020B0402020204020303"/>
                        </a:rPr>
                        <a:t>Belgium</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dirty="0">
                          <a:solidFill>
                            <a:srgbClr val="000000"/>
                          </a:solidFill>
                          <a:effectLst/>
                          <a:latin typeface="Futura PT Light" panose="020B0402020204020303"/>
                        </a:rPr>
                        <a:t>2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72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333835718"/>
                  </a:ext>
                </a:extLst>
              </a:tr>
              <a:tr h="148434">
                <a:tc>
                  <a:txBody>
                    <a:bodyPr/>
                    <a:lstStyle/>
                    <a:p>
                      <a:pPr algn="l" fontAlgn="b"/>
                      <a:r>
                        <a:rPr lang="en-SG" sz="700" b="0" i="0" u="none" strike="noStrike">
                          <a:solidFill>
                            <a:srgbClr val="000000"/>
                          </a:solidFill>
                          <a:effectLst/>
                          <a:latin typeface="Futura PT Light" panose="020B0402020204020303"/>
                        </a:rPr>
                        <a:t>Czech Republic</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2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71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3181435476"/>
                  </a:ext>
                </a:extLst>
              </a:tr>
              <a:tr h="148434">
                <a:tc>
                  <a:txBody>
                    <a:bodyPr/>
                    <a:lstStyle/>
                    <a:p>
                      <a:pPr algn="l" fontAlgn="b"/>
                      <a:r>
                        <a:rPr lang="en-SG" sz="700" b="0" i="0" u="none" strike="noStrike">
                          <a:solidFill>
                            <a:srgbClr val="000000"/>
                          </a:solidFill>
                          <a:effectLst/>
                          <a:latin typeface="Futura PT Light" panose="020B0402020204020303"/>
                        </a:rPr>
                        <a:t>Slove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2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70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3895187"/>
                  </a:ext>
                </a:extLst>
              </a:tr>
              <a:tr h="227353">
                <a:tc>
                  <a:txBody>
                    <a:bodyPr/>
                    <a:lstStyle/>
                    <a:p>
                      <a:pPr algn="l" fontAlgn="b"/>
                      <a:r>
                        <a:rPr lang="en-SG" sz="700" b="0" i="0" u="none" strike="noStrike" dirty="0">
                          <a:solidFill>
                            <a:srgbClr val="000000"/>
                          </a:solidFill>
                          <a:effectLst/>
                          <a:latin typeface="Futura PT Light" panose="020B0402020204020303"/>
                        </a:rPr>
                        <a:t>United Arab Emirate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2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68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688187521"/>
                  </a:ext>
                </a:extLst>
              </a:tr>
              <a:tr h="148434">
                <a:tc>
                  <a:txBody>
                    <a:bodyPr/>
                    <a:lstStyle/>
                    <a:p>
                      <a:pPr algn="l" fontAlgn="b"/>
                      <a:r>
                        <a:rPr lang="en-SG" sz="700" b="0" i="0" u="none" strike="noStrike" dirty="0">
                          <a:solidFill>
                            <a:srgbClr val="000000"/>
                          </a:solidFill>
                          <a:effectLst/>
                          <a:latin typeface="Futura PT Light" panose="020B0402020204020303"/>
                        </a:rPr>
                        <a:t>Portugal</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2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68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358532792"/>
                  </a:ext>
                </a:extLst>
              </a:tr>
              <a:tr h="148434">
                <a:tc>
                  <a:txBody>
                    <a:bodyPr/>
                    <a:lstStyle/>
                    <a:p>
                      <a:pPr algn="l" fontAlgn="b"/>
                      <a:r>
                        <a:rPr lang="en-SG" sz="700" b="0" i="0" u="none" strike="noStrike" dirty="0">
                          <a:solidFill>
                            <a:srgbClr val="000000"/>
                          </a:solidFill>
                          <a:effectLst/>
                          <a:latin typeface="Futura PT Light" panose="020B0402020204020303"/>
                        </a:rPr>
                        <a:t>Spai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2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67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174176170"/>
                  </a:ext>
                </a:extLst>
              </a:tr>
            </a:tbl>
          </a:graphicData>
        </a:graphic>
      </p:graphicFrame>
      <p:graphicFrame>
        <p:nvGraphicFramePr>
          <p:cNvPr id="6" name="Table 5">
            <a:extLst>
              <a:ext uri="{FF2B5EF4-FFF2-40B4-BE49-F238E27FC236}">
                <a16:creationId xmlns:a16="http://schemas.microsoft.com/office/drawing/2014/main" xmlns="" id="{71A0CE1F-90C0-4E21-8A24-AF80538ECDFA}"/>
              </a:ext>
            </a:extLst>
          </p:cNvPr>
          <p:cNvGraphicFramePr>
            <a:graphicFrameLocks noGrp="1"/>
          </p:cNvGraphicFramePr>
          <p:nvPr>
            <p:extLst>
              <p:ext uri="{D42A27DB-BD31-4B8C-83A1-F6EECF244321}">
                <p14:modId xmlns:p14="http://schemas.microsoft.com/office/powerpoint/2010/main" val="341083500"/>
              </p:ext>
            </p:extLst>
          </p:nvPr>
        </p:nvGraphicFramePr>
        <p:xfrm>
          <a:off x="2807437" y="1496734"/>
          <a:ext cx="1907345" cy="4227262"/>
        </p:xfrm>
        <a:graphic>
          <a:graphicData uri="http://schemas.openxmlformats.org/drawingml/2006/table">
            <a:tbl>
              <a:tblPr firstRow="1" bandRow="1">
                <a:tableStyleId>{5C22544A-7EE6-4342-B048-85BDC9FD1C3A}</a:tableStyleId>
              </a:tblPr>
              <a:tblGrid>
                <a:gridCol w="1050197">
                  <a:extLst>
                    <a:ext uri="{9D8B030D-6E8A-4147-A177-3AD203B41FA5}">
                      <a16:colId xmlns:a16="http://schemas.microsoft.com/office/drawing/2014/main" xmlns="" val="2923036836"/>
                    </a:ext>
                  </a:extLst>
                </a:gridCol>
                <a:gridCol w="428574">
                  <a:extLst>
                    <a:ext uri="{9D8B030D-6E8A-4147-A177-3AD203B41FA5}">
                      <a16:colId xmlns:a16="http://schemas.microsoft.com/office/drawing/2014/main" xmlns="" val="1375252717"/>
                    </a:ext>
                  </a:extLst>
                </a:gridCol>
                <a:gridCol w="428574">
                  <a:extLst>
                    <a:ext uri="{9D8B030D-6E8A-4147-A177-3AD203B41FA5}">
                      <a16:colId xmlns:a16="http://schemas.microsoft.com/office/drawing/2014/main" xmlns="" val="291605258"/>
                    </a:ext>
                  </a:extLst>
                </a:gridCol>
              </a:tblGrid>
              <a:tr h="295857">
                <a:tc>
                  <a:txBody>
                    <a:bodyPr/>
                    <a:lstStyle/>
                    <a:p>
                      <a:pPr algn="l" fontAlgn="ctr"/>
                      <a:r>
                        <a:rPr lang="en-SG" sz="700" b="0" i="0" u="none" strike="noStrike" dirty="0">
                          <a:solidFill>
                            <a:schemeClr val="bg1"/>
                          </a:solidFill>
                          <a:effectLst/>
                          <a:latin typeface="Gill Sans Std Light" panose="020B0302020104020203" pitchFamily="34" charset="0"/>
                        </a:rPr>
                        <a:t>Country</a:t>
                      </a:r>
                    </a:p>
                  </a:txBody>
                  <a:tcPr marL="33699"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Rank</a:t>
                      </a:r>
                    </a:p>
                  </a:txBody>
                  <a:tcPr marL="2808"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Score</a:t>
                      </a:r>
                    </a:p>
                  </a:txBody>
                  <a:tcPr marL="2808" marR="2808" marT="2808" marB="0" anchor="ctr">
                    <a:lnB w="3175" cap="flat" cmpd="sng" algn="ctr">
                      <a:noFill/>
                      <a:prstDash val="solid"/>
                      <a:round/>
                      <a:headEnd type="none" w="med" len="med"/>
                      <a:tailEnd type="none" w="med" len="med"/>
                    </a:lnB>
                    <a:solidFill>
                      <a:srgbClr val="21284C"/>
                    </a:solidFill>
                  </a:tcPr>
                </a:tc>
                <a:extLst>
                  <a:ext uri="{0D108BD9-81ED-4DB2-BD59-A6C34878D82A}">
                    <a16:rowId xmlns:a16="http://schemas.microsoft.com/office/drawing/2014/main" xmlns="" val="4244466117"/>
                  </a:ext>
                </a:extLst>
              </a:tr>
              <a:tr h="152368">
                <a:tc>
                  <a:txBody>
                    <a:bodyPr/>
                    <a:lstStyle/>
                    <a:p>
                      <a:pPr algn="l" fontAlgn="b"/>
                      <a:r>
                        <a:rPr lang="en-SG" sz="700" b="0" i="0" u="none" strike="noStrike" dirty="0">
                          <a:solidFill>
                            <a:srgbClr val="000000"/>
                          </a:solidFill>
                          <a:effectLst/>
                          <a:latin typeface="Futura PT Light" panose="020B0402020204020303"/>
                        </a:rPr>
                        <a:t>Israel</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2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67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385414383"/>
                  </a:ext>
                </a:extLst>
              </a:tr>
              <a:tr h="152368">
                <a:tc>
                  <a:txBody>
                    <a:bodyPr/>
                    <a:lstStyle/>
                    <a:p>
                      <a:pPr algn="l" fontAlgn="b"/>
                      <a:r>
                        <a:rPr lang="en-SG" sz="700" b="0" i="0" u="none" strike="noStrike" dirty="0">
                          <a:solidFill>
                            <a:srgbClr val="000000"/>
                          </a:solidFill>
                          <a:effectLst/>
                          <a:latin typeface="Futura PT Light" panose="020B0402020204020303"/>
                        </a:rPr>
                        <a:t>Po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2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66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892664313"/>
                  </a:ext>
                </a:extLst>
              </a:tr>
              <a:tr h="152368">
                <a:tc>
                  <a:txBody>
                    <a:bodyPr/>
                    <a:lstStyle/>
                    <a:p>
                      <a:pPr algn="l" fontAlgn="b"/>
                      <a:r>
                        <a:rPr lang="en-SG" sz="700" b="0" i="0" u="none" strike="noStrike">
                          <a:solidFill>
                            <a:srgbClr val="000000"/>
                          </a:solidFill>
                          <a:effectLst/>
                          <a:latin typeface="Futura PT Light" panose="020B0402020204020303"/>
                        </a:rPr>
                        <a:t>Lithua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2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66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14547657"/>
                  </a:ext>
                </a:extLst>
              </a:tr>
              <a:tr h="152368">
                <a:tc>
                  <a:txBody>
                    <a:bodyPr/>
                    <a:lstStyle/>
                    <a:p>
                      <a:pPr algn="l" fontAlgn="b"/>
                      <a:r>
                        <a:rPr lang="en-SG" sz="700" b="0" i="0" u="none" strike="noStrike" dirty="0">
                          <a:solidFill>
                            <a:srgbClr val="000000"/>
                          </a:solidFill>
                          <a:effectLst/>
                          <a:latin typeface="Futura PT Light" panose="020B0402020204020303"/>
                        </a:rPr>
                        <a:t>Latv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3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64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187770635"/>
                  </a:ext>
                </a:extLst>
              </a:tr>
              <a:tr h="152368">
                <a:tc>
                  <a:txBody>
                    <a:bodyPr/>
                    <a:lstStyle/>
                    <a:p>
                      <a:pPr algn="l" fontAlgn="b"/>
                      <a:r>
                        <a:rPr lang="en-SG" sz="700" b="0" i="0" u="none" strike="noStrike" dirty="0">
                          <a:solidFill>
                            <a:srgbClr val="000000"/>
                          </a:solidFill>
                          <a:effectLst/>
                          <a:latin typeface="Futura PT Light" panose="020B0402020204020303"/>
                        </a:rPr>
                        <a:t>Chil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3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64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622486499"/>
                  </a:ext>
                </a:extLst>
              </a:tr>
              <a:tr h="152368">
                <a:tc>
                  <a:txBody>
                    <a:bodyPr/>
                    <a:lstStyle/>
                    <a:p>
                      <a:pPr algn="l" fontAlgn="b"/>
                      <a:r>
                        <a:rPr lang="en-SG" sz="700" b="0" i="0" u="none" strike="noStrike">
                          <a:solidFill>
                            <a:srgbClr val="000000"/>
                          </a:solidFill>
                          <a:effectLst/>
                          <a:latin typeface="Futura PT Light" panose="020B0402020204020303"/>
                        </a:rPr>
                        <a:t>Malays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3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62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2178409923"/>
                  </a:ext>
                </a:extLst>
              </a:tr>
              <a:tr h="152368">
                <a:tc>
                  <a:txBody>
                    <a:bodyPr/>
                    <a:lstStyle/>
                    <a:p>
                      <a:pPr algn="l" fontAlgn="b"/>
                      <a:r>
                        <a:rPr lang="en-SG" sz="700" b="0" i="0" u="none" strike="noStrike" dirty="0">
                          <a:solidFill>
                            <a:srgbClr val="000000"/>
                          </a:solidFill>
                          <a:effectLst/>
                          <a:latin typeface="Futura PT Light" panose="020B0402020204020303"/>
                        </a:rPr>
                        <a:t>Hungar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3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60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264188818"/>
                  </a:ext>
                </a:extLst>
              </a:tr>
              <a:tr h="122205">
                <a:tc>
                  <a:txBody>
                    <a:bodyPr/>
                    <a:lstStyle/>
                    <a:p>
                      <a:pPr algn="l" fontAlgn="b"/>
                      <a:r>
                        <a:rPr lang="en-SG" sz="700" b="0" i="0" u="none" strike="noStrike" dirty="0">
                          <a:solidFill>
                            <a:srgbClr val="000000"/>
                          </a:solidFill>
                          <a:effectLst/>
                          <a:latin typeface="Futura PT Light" panose="020B0402020204020303"/>
                        </a:rPr>
                        <a:t>Ital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3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60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580803853"/>
                  </a:ext>
                </a:extLst>
              </a:tr>
              <a:tr h="152368">
                <a:tc>
                  <a:txBody>
                    <a:bodyPr/>
                    <a:lstStyle/>
                    <a:p>
                      <a:pPr algn="l" fontAlgn="b"/>
                      <a:r>
                        <a:rPr lang="en-SG" sz="700" b="0" i="0" u="none" strike="noStrike">
                          <a:solidFill>
                            <a:srgbClr val="000000"/>
                          </a:solidFill>
                          <a:effectLst/>
                          <a:latin typeface="Futura PT Light" panose="020B0402020204020303"/>
                        </a:rPr>
                        <a:t>Bulgar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3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59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05516273"/>
                  </a:ext>
                </a:extLst>
              </a:tr>
              <a:tr h="152368">
                <a:tc>
                  <a:txBody>
                    <a:bodyPr/>
                    <a:lstStyle/>
                    <a:p>
                      <a:pPr algn="l" fontAlgn="b"/>
                      <a:r>
                        <a:rPr lang="en-SG" sz="700" b="0" i="0" u="none" strike="noStrike" dirty="0">
                          <a:solidFill>
                            <a:srgbClr val="000000"/>
                          </a:solidFill>
                          <a:effectLst/>
                          <a:latin typeface="Futura PT Light" panose="020B0402020204020303"/>
                        </a:rPr>
                        <a:t>Urugua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3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59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080809609"/>
                  </a:ext>
                </a:extLst>
              </a:tr>
              <a:tr h="152368">
                <a:tc>
                  <a:txBody>
                    <a:bodyPr/>
                    <a:lstStyle/>
                    <a:p>
                      <a:pPr algn="l" fontAlgn="b"/>
                      <a:r>
                        <a:rPr lang="en-SG" sz="700" b="0" i="0" u="none" strike="noStrike" dirty="0">
                          <a:solidFill>
                            <a:srgbClr val="000000"/>
                          </a:solidFill>
                          <a:effectLst/>
                          <a:latin typeface="Futura PT Light" panose="020B0402020204020303"/>
                        </a:rPr>
                        <a:t>Croat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3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8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003173095"/>
                  </a:ext>
                </a:extLst>
              </a:tr>
              <a:tr h="152368">
                <a:tc>
                  <a:txBody>
                    <a:bodyPr/>
                    <a:lstStyle/>
                    <a:p>
                      <a:pPr algn="l" fontAlgn="b"/>
                      <a:r>
                        <a:rPr lang="en-SG" sz="700" b="0" i="0" u="none" strike="noStrike">
                          <a:solidFill>
                            <a:srgbClr val="000000"/>
                          </a:solidFill>
                          <a:effectLst/>
                          <a:latin typeface="Futura PT Light" panose="020B0402020204020303"/>
                        </a:rPr>
                        <a:t>Mauritiu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3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57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3724028217"/>
                  </a:ext>
                </a:extLst>
              </a:tr>
              <a:tr h="152368">
                <a:tc>
                  <a:txBody>
                    <a:bodyPr/>
                    <a:lstStyle/>
                    <a:p>
                      <a:pPr algn="l" fontAlgn="b"/>
                      <a:r>
                        <a:rPr lang="en-SG" sz="700" b="0" i="0" u="none" strike="noStrike">
                          <a:solidFill>
                            <a:srgbClr val="000000"/>
                          </a:solidFill>
                          <a:effectLst/>
                          <a:latin typeface="Futura PT Light" panose="020B0402020204020303"/>
                        </a:rPr>
                        <a:t>Roma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3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57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24188486"/>
                  </a:ext>
                </a:extLst>
              </a:tr>
              <a:tr h="152368">
                <a:tc>
                  <a:txBody>
                    <a:bodyPr/>
                    <a:lstStyle/>
                    <a:p>
                      <a:pPr algn="l" fontAlgn="b"/>
                      <a:r>
                        <a:rPr lang="en-SG" sz="700" b="0" i="0" u="none" strike="noStrike" dirty="0">
                          <a:solidFill>
                            <a:srgbClr val="000000"/>
                          </a:solidFill>
                          <a:effectLst/>
                          <a:latin typeface="Futura PT Light" panose="020B0402020204020303"/>
                        </a:rPr>
                        <a:t>Chin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5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74292897"/>
                  </a:ext>
                </a:extLst>
              </a:tr>
              <a:tr h="152368">
                <a:tc>
                  <a:txBody>
                    <a:bodyPr/>
                    <a:lstStyle/>
                    <a:p>
                      <a:pPr algn="l" fontAlgn="b"/>
                      <a:r>
                        <a:rPr lang="en-SG" sz="700" b="0" i="0" u="none" strike="noStrike">
                          <a:solidFill>
                            <a:srgbClr val="000000"/>
                          </a:solidFill>
                          <a:effectLst/>
                          <a:latin typeface="Futura PT Light" panose="020B0402020204020303"/>
                        </a:rPr>
                        <a:t>Georg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4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55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80986359"/>
                  </a:ext>
                </a:extLst>
              </a:tr>
              <a:tr h="152368">
                <a:tc>
                  <a:txBody>
                    <a:bodyPr/>
                    <a:lstStyle/>
                    <a:p>
                      <a:pPr algn="l" fontAlgn="b"/>
                      <a:r>
                        <a:rPr lang="en-SG" sz="700" b="0" i="0" u="none" strike="noStrike" dirty="0">
                          <a:solidFill>
                            <a:srgbClr val="000000"/>
                          </a:solidFill>
                          <a:effectLst/>
                          <a:latin typeface="Futura PT Light" panose="020B0402020204020303"/>
                        </a:rPr>
                        <a:t>Costa Ric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5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932635975"/>
                  </a:ext>
                </a:extLst>
              </a:tr>
              <a:tr h="152368">
                <a:tc>
                  <a:txBody>
                    <a:bodyPr/>
                    <a:lstStyle/>
                    <a:p>
                      <a:pPr algn="l" fontAlgn="b"/>
                      <a:r>
                        <a:rPr lang="en-SG" sz="700" b="0" i="0" u="none" strike="noStrike" dirty="0">
                          <a:solidFill>
                            <a:srgbClr val="000000"/>
                          </a:solidFill>
                          <a:effectLst/>
                          <a:latin typeface="Futura PT Light" panose="020B0402020204020303"/>
                        </a:rPr>
                        <a:t>Russian Federatio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4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54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177118721"/>
                  </a:ext>
                </a:extLst>
              </a:tr>
              <a:tr h="152368">
                <a:tc>
                  <a:txBody>
                    <a:bodyPr/>
                    <a:lstStyle/>
                    <a:p>
                      <a:pPr algn="l" fontAlgn="b"/>
                      <a:r>
                        <a:rPr lang="en-SG" sz="700" b="0" i="0" u="none" strike="noStrike" dirty="0">
                          <a:solidFill>
                            <a:srgbClr val="000000"/>
                          </a:solidFill>
                          <a:effectLst/>
                          <a:latin typeface="Futura PT Light" panose="020B0402020204020303"/>
                        </a:rPr>
                        <a:t>Serb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4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404447683"/>
                  </a:ext>
                </a:extLst>
              </a:tr>
              <a:tr h="152368">
                <a:tc>
                  <a:txBody>
                    <a:bodyPr/>
                    <a:lstStyle/>
                    <a:p>
                      <a:pPr algn="l" fontAlgn="b"/>
                      <a:r>
                        <a:rPr lang="en-SG" sz="700" b="0" i="0" u="none" strike="noStrike">
                          <a:solidFill>
                            <a:srgbClr val="000000"/>
                          </a:solidFill>
                          <a:effectLst/>
                          <a:latin typeface="Futura PT Light" panose="020B0402020204020303"/>
                        </a:rPr>
                        <a:t>Kazakhst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4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54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979947126"/>
                  </a:ext>
                </a:extLst>
              </a:tr>
              <a:tr h="152368">
                <a:tc>
                  <a:txBody>
                    <a:bodyPr/>
                    <a:lstStyle/>
                    <a:p>
                      <a:pPr algn="l" fontAlgn="b"/>
                      <a:r>
                        <a:rPr lang="en-SG" sz="700" b="0" i="0" u="none" strike="noStrike" dirty="0">
                          <a:solidFill>
                            <a:srgbClr val="000000"/>
                          </a:solidFill>
                          <a:effectLst/>
                          <a:latin typeface="Futura PT Light" panose="020B0402020204020303"/>
                        </a:rPr>
                        <a:t>Thailand</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3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333835718"/>
                  </a:ext>
                </a:extLst>
              </a:tr>
              <a:tr h="152368">
                <a:tc>
                  <a:txBody>
                    <a:bodyPr/>
                    <a:lstStyle/>
                    <a:p>
                      <a:pPr algn="l" fontAlgn="b"/>
                      <a:r>
                        <a:rPr lang="en-SG" sz="700" b="0" i="0" u="none" strike="noStrike">
                          <a:solidFill>
                            <a:srgbClr val="000000"/>
                          </a:solidFill>
                          <a:effectLst/>
                          <a:latin typeface="Futura PT Light" panose="020B0402020204020303"/>
                        </a:rPr>
                        <a:t>Greec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4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53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81435476"/>
                  </a:ext>
                </a:extLst>
              </a:tr>
              <a:tr h="152368">
                <a:tc>
                  <a:txBody>
                    <a:bodyPr/>
                    <a:lstStyle/>
                    <a:p>
                      <a:pPr algn="l" fontAlgn="b"/>
                      <a:r>
                        <a:rPr lang="en-SG" sz="700" b="0" i="0" u="none" strike="noStrike" dirty="0">
                          <a:solidFill>
                            <a:srgbClr val="000000"/>
                          </a:solidFill>
                          <a:effectLst/>
                          <a:latin typeface="Futura PT Light" panose="020B0402020204020303"/>
                        </a:rPr>
                        <a:t>Montenegro</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2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33895187"/>
                  </a:ext>
                </a:extLst>
              </a:tr>
              <a:tr h="152368">
                <a:tc>
                  <a:txBody>
                    <a:bodyPr/>
                    <a:lstStyle/>
                    <a:p>
                      <a:pPr algn="l" fontAlgn="b"/>
                      <a:r>
                        <a:rPr lang="en-SG" sz="700" b="0" i="0" u="none" strike="noStrike">
                          <a:solidFill>
                            <a:srgbClr val="000000"/>
                          </a:solidFill>
                          <a:effectLst/>
                          <a:latin typeface="Futura PT Light" panose="020B0402020204020303"/>
                        </a:rPr>
                        <a:t>Indones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4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2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688187521"/>
                  </a:ext>
                </a:extLst>
              </a:tr>
              <a:tr h="152368">
                <a:tc>
                  <a:txBody>
                    <a:bodyPr/>
                    <a:lstStyle/>
                    <a:p>
                      <a:pPr algn="l" fontAlgn="b"/>
                      <a:r>
                        <a:rPr lang="en-SG" sz="700" b="0" i="0" u="none" strike="noStrike" dirty="0">
                          <a:solidFill>
                            <a:srgbClr val="000000"/>
                          </a:solidFill>
                          <a:effectLst/>
                          <a:latin typeface="Futura PT Light" panose="020B0402020204020303"/>
                        </a:rPr>
                        <a:t>Mexico</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5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52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2358532792"/>
                  </a:ext>
                </a:extLst>
              </a:tr>
              <a:tr h="152368">
                <a:tc>
                  <a:txBody>
                    <a:bodyPr/>
                    <a:lstStyle/>
                    <a:p>
                      <a:pPr algn="l" fontAlgn="b"/>
                      <a:r>
                        <a:rPr lang="en-SG" sz="700" b="0" i="0" u="none" strike="noStrike" dirty="0">
                          <a:solidFill>
                            <a:srgbClr val="000000"/>
                          </a:solidFill>
                          <a:effectLst/>
                          <a:latin typeface="Futura PT Light" panose="020B0402020204020303"/>
                        </a:rPr>
                        <a:t>Panam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5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50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369817078"/>
                  </a:ext>
                </a:extLst>
              </a:tr>
              <a:tr h="152368">
                <a:tc>
                  <a:txBody>
                    <a:bodyPr/>
                    <a:lstStyle/>
                    <a:p>
                      <a:pPr algn="l" fontAlgn="b"/>
                      <a:r>
                        <a:rPr lang="en-US" sz="700" b="0" i="0" u="none" strike="noStrike" dirty="0">
                          <a:solidFill>
                            <a:srgbClr val="000000"/>
                          </a:solidFill>
                          <a:effectLst/>
                          <a:latin typeface="Futura PT Light" panose="020B0402020204020303"/>
                        </a:rPr>
                        <a:t>India</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US" sz="700" b="0" i="0" u="none" strike="noStrike" dirty="0">
                          <a:solidFill>
                            <a:srgbClr val="000000"/>
                          </a:solidFill>
                          <a:effectLst/>
                          <a:latin typeface="Futura PT Light" panose="020B0402020204020303"/>
                        </a:rPr>
                        <a:t>52</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US" sz="700" b="0" i="0" u="none" strike="noStrike" dirty="0">
                          <a:solidFill>
                            <a:srgbClr val="000000"/>
                          </a:solidFill>
                          <a:effectLst/>
                          <a:latin typeface="Futura PT Light" panose="020B0402020204020303"/>
                        </a:rPr>
                        <a:t>0.508</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500755579"/>
                  </a:ext>
                </a:extLst>
              </a:tr>
            </a:tbl>
          </a:graphicData>
        </a:graphic>
      </p:graphicFrame>
      <p:graphicFrame>
        <p:nvGraphicFramePr>
          <p:cNvPr id="7" name="Table 6">
            <a:extLst>
              <a:ext uri="{FF2B5EF4-FFF2-40B4-BE49-F238E27FC236}">
                <a16:creationId xmlns:a16="http://schemas.microsoft.com/office/drawing/2014/main" xmlns="" id="{E7503860-1014-4815-AD2E-56190359B719}"/>
              </a:ext>
            </a:extLst>
          </p:cNvPr>
          <p:cNvGraphicFramePr>
            <a:graphicFrameLocks noGrp="1"/>
          </p:cNvGraphicFramePr>
          <p:nvPr>
            <p:extLst>
              <p:ext uri="{D42A27DB-BD31-4B8C-83A1-F6EECF244321}">
                <p14:modId xmlns:p14="http://schemas.microsoft.com/office/powerpoint/2010/main" val="1177836102"/>
              </p:ext>
            </p:extLst>
          </p:nvPr>
        </p:nvGraphicFramePr>
        <p:xfrm>
          <a:off x="5097786" y="1500525"/>
          <a:ext cx="1907345" cy="4227248"/>
        </p:xfrm>
        <a:graphic>
          <a:graphicData uri="http://schemas.openxmlformats.org/drawingml/2006/table">
            <a:tbl>
              <a:tblPr firstRow="1" bandRow="1">
                <a:tableStyleId>{5C22544A-7EE6-4342-B048-85BDC9FD1C3A}</a:tableStyleId>
              </a:tblPr>
              <a:tblGrid>
                <a:gridCol w="1050197">
                  <a:extLst>
                    <a:ext uri="{9D8B030D-6E8A-4147-A177-3AD203B41FA5}">
                      <a16:colId xmlns:a16="http://schemas.microsoft.com/office/drawing/2014/main" xmlns="" val="2923036836"/>
                    </a:ext>
                  </a:extLst>
                </a:gridCol>
                <a:gridCol w="428574">
                  <a:extLst>
                    <a:ext uri="{9D8B030D-6E8A-4147-A177-3AD203B41FA5}">
                      <a16:colId xmlns:a16="http://schemas.microsoft.com/office/drawing/2014/main" xmlns="" val="1375252717"/>
                    </a:ext>
                  </a:extLst>
                </a:gridCol>
                <a:gridCol w="428574">
                  <a:extLst>
                    <a:ext uri="{9D8B030D-6E8A-4147-A177-3AD203B41FA5}">
                      <a16:colId xmlns:a16="http://schemas.microsoft.com/office/drawing/2014/main" xmlns="" val="291605258"/>
                    </a:ext>
                  </a:extLst>
                </a:gridCol>
              </a:tblGrid>
              <a:tr h="287156">
                <a:tc>
                  <a:txBody>
                    <a:bodyPr/>
                    <a:lstStyle/>
                    <a:p>
                      <a:pPr algn="l" fontAlgn="ctr"/>
                      <a:r>
                        <a:rPr lang="en-SG" sz="700" b="0" i="0" u="none" strike="noStrike" dirty="0">
                          <a:solidFill>
                            <a:schemeClr val="bg1"/>
                          </a:solidFill>
                          <a:effectLst/>
                          <a:latin typeface="Gill Sans Std Light" panose="020B0302020104020203" pitchFamily="34" charset="0"/>
                        </a:rPr>
                        <a:t>Country</a:t>
                      </a:r>
                    </a:p>
                  </a:txBody>
                  <a:tcPr marL="33699"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Rank</a:t>
                      </a:r>
                    </a:p>
                  </a:txBody>
                  <a:tcPr marL="2808"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Score</a:t>
                      </a:r>
                    </a:p>
                  </a:txBody>
                  <a:tcPr marL="2808" marR="2808" marT="2808" marB="0" anchor="ctr">
                    <a:lnB w="3175" cap="flat" cmpd="sng" algn="ctr">
                      <a:noFill/>
                      <a:prstDash val="solid"/>
                      <a:round/>
                      <a:headEnd type="none" w="med" len="med"/>
                      <a:tailEnd type="none" w="med" len="med"/>
                    </a:lnB>
                    <a:solidFill>
                      <a:srgbClr val="21284C"/>
                    </a:solidFill>
                  </a:tcPr>
                </a:tc>
                <a:extLst>
                  <a:ext uri="{0D108BD9-81ED-4DB2-BD59-A6C34878D82A}">
                    <a16:rowId xmlns:a16="http://schemas.microsoft.com/office/drawing/2014/main" xmlns="" val="4244466117"/>
                  </a:ext>
                </a:extLst>
              </a:tr>
              <a:tr h="151542">
                <a:tc>
                  <a:txBody>
                    <a:bodyPr/>
                    <a:lstStyle/>
                    <a:p>
                      <a:pPr algn="l" fontAlgn="b"/>
                      <a:r>
                        <a:rPr lang="en-SG" sz="700" b="0" i="0" u="none" strike="noStrike" dirty="0">
                          <a:solidFill>
                            <a:srgbClr val="000000"/>
                          </a:solidFill>
                          <a:effectLst/>
                          <a:latin typeface="Futura PT Light" panose="020B0402020204020303"/>
                        </a:rPr>
                        <a:t>Alba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5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a:solidFill>
                            <a:srgbClr val="000000"/>
                          </a:solidFill>
                          <a:effectLst/>
                          <a:latin typeface="Futura PT Light" panose="020B0402020204020303"/>
                        </a:rPr>
                        <a:t>0.50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892664313"/>
                  </a:ext>
                </a:extLst>
              </a:tr>
              <a:tr h="151542">
                <a:tc>
                  <a:txBody>
                    <a:bodyPr/>
                    <a:lstStyle/>
                    <a:p>
                      <a:pPr algn="l" fontAlgn="b"/>
                      <a:r>
                        <a:rPr lang="en-SG" sz="700" b="0" i="0" u="none" strike="noStrike" dirty="0">
                          <a:solidFill>
                            <a:srgbClr val="000000"/>
                          </a:solidFill>
                          <a:effectLst/>
                          <a:latin typeface="Futura PT Light" panose="020B0402020204020303"/>
                        </a:rPr>
                        <a:t>Colomb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5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50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414547657"/>
                  </a:ext>
                </a:extLst>
              </a:tr>
              <a:tr h="151542">
                <a:tc>
                  <a:txBody>
                    <a:bodyPr/>
                    <a:lstStyle/>
                    <a:p>
                      <a:pPr algn="l" fontAlgn="b"/>
                      <a:r>
                        <a:rPr lang="en-SG" sz="700" b="0" i="0" u="none" strike="noStrike">
                          <a:solidFill>
                            <a:srgbClr val="000000"/>
                          </a:solidFill>
                          <a:effectLst/>
                          <a:latin typeface="Futura PT Light" panose="020B0402020204020303"/>
                        </a:rPr>
                        <a:t>Rwand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5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49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187770635"/>
                  </a:ext>
                </a:extLst>
              </a:tr>
              <a:tr h="151542">
                <a:tc>
                  <a:txBody>
                    <a:bodyPr/>
                    <a:lstStyle/>
                    <a:p>
                      <a:pPr algn="l" fontAlgn="b"/>
                      <a:r>
                        <a:rPr lang="en-SG" sz="700" b="0" i="0" u="none" strike="noStrike" dirty="0">
                          <a:solidFill>
                            <a:srgbClr val="000000"/>
                          </a:solidFill>
                          <a:effectLst/>
                          <a:latin typeface="Futura PT Light" panose="020B0402020204020303"/>
                        </a:rPr>
                        <a:t>Vietnam</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5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9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622486499"/>
                  </a:ext>
                </a:extLst>
              </a:tr>
              <a:tr h="151542">
                <a:tc>
                  <a:txBody>
                    <a:bodyPr/>
                    <a:lstStyle/>
                    <a:p>
                      <a:pPr algn="l" fontAlgn="b"/>
                      <a:r>
                        <a:rPr lang="en-SG" sz="700" b="0" i="0" u="none" strike="noStrike">
                          <a:solidFill>
                            <a:srgbClr val="000000"/>
                          </a:solidFill>
                          <a:effectLst/>
                          <a:latin typeface="Futura PT Light" panose="020B0402020204020303"/>
                        </a:rPr>
                        <a:t>Arme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5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SG" sz="700" b="0" i="0" u="none" strike="noStrike">
                          <a:solidFill>
                            <a:srgbClr val="000000"/>
                          </a:solidFill>
                          <a:effectLst/>
                          <a:latin typeface="Futura PT Light" panose="020B0402020204020303"/>
                        </a:rPr>
                        <a:t>0.49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178409923"/>
                  </a:ext>
                </a:extLst>
              </a:tr>
              <a:tr h="151542">
                <a:tc>
                  <a:txBody>
                    <a:bodyPr/>
                    <a:lstStyle/>
                    <a:p>
                      <a:pPr algn="l" fontAlgn="b"/>
                      <a:r>
                        <a:rPr lang="en-SG" sz="700" b="0" i="0" u="none" strike="noStrike" dirty="0">
                          <a:solidFill>
                            <a:srgbClr val="000000"/>
                          </a:solidFill>
                          <a:effectLst/>
                          <a:latin typeface="Futura PT Light" panose="020B0402020204020303"/>
                        </a:rPr>
                        <a:t>Turkey</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5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a:solidFill>
                            <a:srgbClr val="000000"/>
                          </a:solidFill>
                          <a:effectLst/>
                          <a:latin typeface="Futura PT Light" panose="020B0402020204020303"/>
                        </a:rPr>
                        <a:t>0.49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264188818"/>
                  </a:ext>
                </a:extLst>
              </a:tr>
              <a:tr h="151542">
                <a:tc>
                  <a:txBody>
                    <a:bodyPr/>
                    <a:lstStyle/>
                    <a:p>
                      <a:pPr algn="l" fontAlgn="b"/>
                      <a:r>
                        <a:rPr lang="en-SG" sz="700" b="0" i="0" u="none" strike="noStrike" dirty="0">
                          <a:solidFill>
                            <a:srgbClr val="000000"/>
                          </a:solidFill>
                          <a:effectLst/>
                          <a:latin typeface="Futura PT Light" panose="020B0402020204020303"/>
                        </a:rPr>
                        <a:t>Ukrain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5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8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580803853"/>
                  </a:ext>
                </a:extLst>
              </a:tr>
              <a:tr h="151542">
                <a:tc>
                  <a:txBody>
                    <a:bodyPr/>
                    <a:lstStyle/>
                    <a:p>
                      <a:pPr algn="l" fontAlgn="b"/>
                      <a:r>
                        <a:rPr lang="en-SG" sz="700" b="0" i="0" u="none" strike="noStrike" dirty="0">
                          <a:solidFill>
                            <a:srgbClr val="000000"/>
                          </a:solidFill>
                          <a:effectLst/>
                          <a:latin typeface="Futura PT Light" panose="020B0402020204020303"/>
                        </a:rPr>
                        <a:t>Botswan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6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48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2905516273"/>
                  </a:ext>
                </a:extLst>
              </a:tr>
              <a:tr h="151542">
                <a:tc>
                  <a:txBody>
                    <a:bodyPr/>
                    <a:lstStyle/>
                    <a:p>
                      <a:pPr algn="l" fontAlgn="b"/>
                      <a:r>
                        <a:rPr lang="en-SG" sz="700" b="0" i="0" u="none" strike="noStrike" dirty="0">
                          <a:solidFill>
                            <a:srgbClr val="000000"/>
                          </a:solidFill>
                          <a:effectLst/>
                          <a:latin typeface="Futura PT Light" panose="020B0402020204020303"/>
                        </a:rPr>
                        <a:t>Jamaic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6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8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080809609"/>
                  </a:ext>
                </a:extLst>
              </a:tr>
              <a:tr h="151542">
                <a:tc>
                  <a:txBody>
                    <a:bodyPr/>
                    <a:lstStyle/>
                    <a:p>
                      <a:pPr algn="l" fontAlgn="b"/>
                      <a:r>
                        <a:rPr lang="en-SG" sz="700" b="0" i="0" u="none" strike="noStrike" dirty="0">
                          <a:solidFill>
                            <a:srgbClr val="000000"/>
                          </a:solidFill>
                          <a:effectLst/>
                          <a:latin typeface="Futura PT Light" panose="020B0402020204020303"/>
                        </a:rPr>
                        <a:t>Peru</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a:solidFill>
                            <a:srgbClr val="000000"/>
                          </a:solidFill>
                          <a:effectLst/>
                          <a:latin typeface="Futura PT Light" panose="020B0402020204020303"/>
                        </a:rPr>
                        <a:t>6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a:solidFill>
                            <a:srgbClr val="000000"/>
                          </a:solidFill>
                          <a:effectLst/>
                          <a:latin typeface="Futura PT Light" panose="020B0402020204020303"/>
                        </a:rPr>
                        <a:t>0.48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003173095"/>
                  </a:ext>
                </a:extLst>
              </a:tr>
              <a:tr h="151542">
                <a:tc>
                  <a:txBody>
                    <a:bodyPr/>
                    <a:lstStyle/>
                    <a:p>
                      <a:pPr algn="l" fontAlgn="b"/>
                      <a:r>
                        <a:rPr lang="en-SG" sz="700" b="0" i="0" u="none" strike="noStrike" dirty="0">
                          <a:solidFill>
                            <a:srgbClr val="000000"/>
                          </a:solidFill>
                          <a:effectLst/>
                          <a:latin typeface="Futura PT Light" panose="020B0402020204020303"/>
                        </a:rPr>
                        <a:t>Philippine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a:solidFill>
                            <a:srgbClr val="000000"/>
                          </a:solidFill>
                          <a:effectLst/>
                          <a:latin typeface="Futura PT Light" panose="020B0402020204020303"/>
                        </a:rPr>
                        <a:t>0.48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724028217"/>
                  </a:ext>
                </a:extLst>
              </a:tr>
              <a:tr h="151542">
                <a:tc>
                  <a:txBody>
                    <a:bodyPr/>
                    <a:lstStyle/>
                    <a:p>
                      <a:pPr algn="l" fontAlgn="b"/>
                      <a:r>
                        <a:rPr lang="en-SG" sz="700" b="0" i="0" u="none" strike="noStrike" dirty="0">
                          <a:solidFill>
                            <a:srgbClr val="000000"/>
                          </a:solidFill>
                          <a:effectLst/>
                          <a:latin typeface="Futura PT Light" panose="020B0402020204020303"/>
                        </a:rPr>
                        <a:t>Morocco</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8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424188486"/>
                  </a:ext>
                </a:extLst>
              </a:tr>
              <a:tr h="151542">
                <a:tc>
                  <a:txBody>
                    <a:bodyPr/>
                    <a:lstStyle/>
                    <a:p>
                      <a:pPr algn="l" fontAlgn="b"/>
                      <a:r>
                        <a:rPr lang="en-SG" sz="700" b="0" i="0" u="none" strike="noStrike" dirty="0">
                          <a:solidFill>
                            <a:srgbClr val="000000"/>
                          </a:solidFill>
                          <a:effectLst/>
                          <a:latin typeface="Futura PT Light" panose="020B0402020204020303"/>
                        </a:rPr>
                        <a:t>North Macedo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8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74292897"/>
                  </a:ext>
                </a:extLst>
              </a:tr>
              <a:tr h="151542">
                <a:tc>
                  <a:txBody>
                    <a:bodyPr/>
                    <a:lstStyle/>
                    <a:p>
                      <a:pPr algn="l" fontAlgn="b"/>
                      <a:r>
                        <a:rPr lang="en-SG" sz="700" b="0" i="0" u="none" strike="noStrike" dirty="0">
                          <a:solidFill>
                            <a:srgbClr val="000000"/>
                          </a:solidFill>
                          <a:effectLst/>
                          <a:latin typeface="Futura PT Light" panose="020B0402020204020303"/>
                        </a:rPr>
                        <a:t>Brazil</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7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4195526159"/>
                  </a:ext>
                </a:extLst>
              </a:tr>
              <a:tr h="151542">
                <a:tc>
                  <a:txBody>
                    <a:bodyPr/>
                    <a:lstStyle/>
                    <a:p>
                      <a:pPr algn="l" fontAlgn="b"/>
                      <a:r>
                        <a:rPr lang="en-SG" sz="700" b="0" i="0" u="none" strike="noStrike">
                          <a:solidFill>
                            <a:srgbClr val="000000"/>
                          </a:solidFill>
                          <a:effectLst/>
                          <a:latin typeface="Futura PT Light" panose="020B0402020204020303"/>
                        </a:rPr>
                        <a:t>Argentin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7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680986359"/>
                  </a:ext>
                </a:extLst>
              </a:tr>
              <a:tr h="151542">
                <a:tc>
                  <a:txBody>
                    <a:bodyPr/>
                    <a:lstStyle/>
                    <a:p>
                      <a:pPr algn="l" fontAlgn="b"/>
                      <a:r>
                        <a:rPr lang="en-SG" sz="700" b="0" i="0" u="none" strike="noStrike" dirty="0">
                          <a:solidFill>
                            <a:srgbClr val="000000"/>
                          </a:solidFill>
                          <a:effectLst/>
                          <a:latin typeface="Futura PT Light" panose="020B0402020204020303"/>
                        </a:rPr>
                        <a:t>Moldov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6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6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932635975"/>
                  </a:ext>
                </a:extLst>
              </a:tr>
              <a:tr h="151542">
                <a:tc>
                  <a:txBody>
                    <a:bodyPr/>
                    <a:lstStyle/>
                    <a:p>
                      <a:pPr algn="l" fontAlgn="b"/>
                      <a:r>
                        <a:rPr lang="en-SG" sz="700" b="0" i="0" u="none" strike="noStrike" dirty="0">
                          <a:solidFill>
                            <a:srgbClr val="000000"/>
                          </a:solidFill>
                          <a:effectLst/>
                          <a:latin typeface="Futura PT Light" panose="020B0402020204020303"/>
                        </a:rPr>
                        <a:t>Jord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6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5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177118721"/>
                  </a:ext>
                </a:extLst>
              </a:tr>
              <a:tr h="151542">
                <a:tc>
                  <a:txBody>
                    <a:bodyPr/>
                    <a:lstStyle/>
                    <a:p>
                      <a:pPr algn="l" fontAlgn="b"/>
                      <a:r>
                        <a:rPr lang="en-SG" sz="700" b="0" i="0" u="none" strike="noStrike">
                          <a:solidFill>
                            <a:srgbClr val="000000"/>
                          </a:solidFill>
                          <a:effectLst/>
                          <a:latin typeface="Futura PT Light" panose="020B0402020204020303"/>
                        </a:rPr>
                        <a:t>South Afric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7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0.45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404447683"/>
                  </a:ext>
                </a:extLst>
              </a:tr>
              <a:tr h="151542">
                <a:tc>
                  <a:txBody>
                    <a:bodyPr/>
                    <a:lstStyle/>
                    <a:p>
                      <a:pPr algn="l" fontAlgn="b"/>
                      <a:r>
                        <a:rPr lang="en-SG" sz="700" b="0" i="0" u="none" strike="noStrike">
                          <a:solidFill>
                            <a:srgbClr val="000000"/>
                          </a:solidFill>
                          <a:effectLst/>
                          <a:latin typeface="Futura PT Light" panose="020B0402020204020303"/>
                        </a:rPr>
                        <a:t>Senegal</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7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43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979947126"/>
                  </a:ext>
                </a:extLst>
              </a:tr>
              <a:tr h="151542">
                <a:tc>
                  <a:txBody>
                    <a:bodyPr/>
                    <a:lstStyle/>
                    <a:p>
                      <a:pPr algn="l" fontAlgn="b"/>
                      <a:r>
                        <a:rPr lang="en-SG" sz="700" b="0" i="0" u="none" strike="noStrike">
                          <a:solidFill>
                            <a:srgbClr val="000000"/>
                          </a:solidFill>
                          <a:effectLst/>
                          <a:latin typeface="Futura PT Light" panose="020B0402020204020303"/>
                        </a:rPr>
                        <a:t>Tunis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7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42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1333835718"/>
                  </a:ext>
                </a:extLst>
              </a:tr>
              <a:tr h="151542">
                <a:tc>
                  <a:txBody>
                    <a:bodyPr/>
                    <a:lstStyle/>
                    <a:p>
                      <a:pPr algn="l" fontAlgn="b"/>
                      <a:r>
                        <a:rPr lang="en-SG" sz="700" b="0" i="0" u="none" strike="noStrike">
                          <a:solidFill>
                            <a:srgbClr val="000000"/>
                          </a:solidFill>
                          <a:effectLst/>
                          <a:latin typeface="Futura PT Light" panose="020B0402020204020303"/>
                        </a:rPr>
                        <a:t>Egypt, Arab Rep.</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7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41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81435476"/>
                  </a:ext>
                </a:extLst>
              </a:tr>
              <a:tr h="151542">
                <a:tc>
                  <a:txBody>
                    <a:bodyPr/>
                    <a:lstStyle/>
                    <a:p>
                      <a:pPr algn="l" fontAlgn="b"/>
                      <a:r>
                        <a:rPr lang="en-SG" sz="700" b="0" i="0" u="none" strike="noStrike" dirty="0">
                          <a:solidFill>
                            <a:srgbClr val="000000"/>
                          </a:solidFill>
                          <a:effectLst/>
                          <a:latin typeface="Futura PT Light" panose="020B0402020204020303"/>
                        </a:rPr>
                        <a:t>Ghan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7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1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33895187"/>
                  </a:ext>
                </a:extLst>
              </a:tr>
              <a:tr h="151542">
                <a:tc>
                  <a:txBody>
                    <a:bodyPr/>
                    <a:lstStyle/>
                    <a:p>
                      <a:pPr algn="l" fontAlgn="b"/>
                      <a:r>
                        <a:rPr lang="en-SG" sz="700" b="0" i="0" u="none" strike="noStrike" dirty="0">
                          <a:solidFill>
                            <a:srgbClr val="000000"/>
                          </a:solidFill>
                          <a:effectLst/>
                          <a:latin typeface="Futura PT Light" panose="020B0402020204020303"/>
                        </a:rPr>
                        <a:t>Mongol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7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41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688187521"/>
                  </a:ext>
                </a:extLst>
              </a:tr>
              <a:tr h="151542">
                <a:tc>
                  <a:txBody>
                    <a:bodyPr/>
                    <a:lstStyle/>
                    <a:p>
                      <a:pPr algn="l" fontAlgn="b"/>
                      <a:r>
                        <a:rPr lang="en-SG" sz="700" b="0" i="0" u="none" strike="noStrike" dirty="0">
                          <a:solidFill>
                            <a:srgbClr val="000000"/>
                          </a:solidFill>
                          <a:effectLst/>
                          <a:latin typeface="Futura PT Light" panose="020B0402020204020303"/>
                        </a:rPr>
                        <a:t>El Salvador</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7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1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358532792"/>
                  </a:ext>
                </a:extLst>
              </a:tr>
              <a:tr h="151542">
                <a:tc>
                  <a:txBody>
                    <a:bodyPr/>
                    <a:lstStyle/>
                    <a:p>
                      <a:pPr algn="l" fontAlgn="b"/>
                      <a:r>
                        <a:rPr lang="en-SG" sz="700" b="0" i="0" u="none" strike="noStrike" dirty="0">
                          <a:solidFill>
                            <a:srgbClr val="000000"/>
                          </a:solidFill>
                          <a:effectLst/>
                          <a:latin typeface="Futura PT Light" panose="020B0402020204020303"/>
                        </a:rPr>
                        <a:t>Honduras</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7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1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149600143"/>
                  </a:ext>
                </a:extLst>
              </a:tr>
              <a:tr h="151542">
                <a:tc>
                  <a:txBody>
                    <a:bodyPr/>
                    <a:lstStyle/>
                    <a:p>
                      <a:pPr algn="l" fontAlgn="b"/>
                      <a:r>
                        <a:rPr lang="en-US" sz="700" b="0" i="0" u="none" strike="noStrike" dirty="0">
                          <a:solidFill>
                            <a:srgbClr val="000000"/>
                          </a:solidFill>
                          <a:effectLst/>
                          <a:latin typeface="Futura PT Light" panose="020B0402020204020303"/>
                        </a:rPr>
                        <a:t>Namibia</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US" sz="700" b="0" i="0" u="none" strike="noStrike" dirty="0">
                          <a:solidFill>
                            <a:srgbClr val="000000"/>
                          </a:solidFill>
                          <a:effectLst/>
                          <a:latin typeface="Futura PT Light" panose="020B0402020204020303"/>
                        </a:rPr>
                        <a:t>78</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US" sz="700" b="0" i="0" u="none" strike="noStrike" dirty="0">
                          <a:solidFill>
                            <a:srgbClr val="000000"/>
                          </a:solidFill>
                          <a:effectLst/>
                          <a:latin typeface="Futura PT Light" panose="020B0402020204020303"/>
                        </a:rPr>
                        <a:t>0.411</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282859523"/>
                  </a:ext>
                </a:extLst>
              </a:tr>
            </a:tbl>
          </a:graphicData>
        </a:graphic>
      </p:graphicFrame>
      <p:graphicFrame>
        <p:nvGraphicFramePr>
          <p:cNvPr id="8" name="Table 7">
            <a:extLst>
              <a:ext uri="{FF2B5EF4-FFF2-40B4-BE49-F238E27FC236}">
                <a16:creationId xmlns:a16="http://schemas.microsoft.com/office/drawing/2014/main" xmlns="" id="{D8E92A54-FECF-4552-A376-F48348468B3A}"/>
              </a:ext>
            </a:extLst>
          </p:cNvPr>
          <p:cNvGraphicFramePr>
            <a:graphicFrameLocks noGrp="1"/>
          </p:cNvGraphicFramePr>
          <p:nvPr>
            <p:extLst>
              <p:ext uri="{D42A27DB-BD31-4B8C-83A1-F6EECF244321}">
                <p14:modId xmlns:p14="http://schemas.microsoft.com/office/powerpoint/2010/main" val="1708477878"/>
              </p:ext>
            </p:extLst>
          </p:nvPr>
        </p:nvGraphicFramePr>
        <p:xfrm>
          <a:off x="7388136" y="1496734"/>
          <a:ext cx="1907344" cy="4227253"/>
        </p:xfrm>
        <a:graphic>
          <a:graphicData uri="http://schemas.openxmlformats.org/drawingml/2006/table">
            <a:tbl>
              <a:tblPr firstRow="1" bandRow="1">
                <a:tableStyleId>{5C22544A-7EE6-4342-B048-85BDC9FD1C3A}</a:tableStyleId>
              </a:tblPr>
              <a:tblGrid>
                <a:gridCol w="1049568">
                  <a:extLst>
                    <a:ext uri="{9D8B030D-6E8A-4147-A177-3AD203B41FA5}">
                      <a16:colId xmlns:a16="http://schemas.microsoft.com/office/drawing/2014/main" xmlns="" val="2923036836"/>
                    </a:ext>
                  </a:extLst>
                </a:gridCol>
                <a:gridCol w="429202">
                  <a:extLst>
                    <a:ext uri="{9D8B030D-6E8A-4147-A177-3AD203B41FA5}">
                      <a16:colId xmlns:a16="http://schemas.microsoft.com/office/drawing/2014/main" xmlns="" val="1375252717"/>
                    </a:ext>
                  </a:extLst>
                </a:gridCol>
                <a:gridCol w="428574">
                  <a:extLst>
                    <a:ext uri="{9D8B030D-6E8A-4147-A177-3AD203B41FA5}">
                      <a16:colId xmlns:a16="http://schemas.microsoft.com/office/drawing/2014/main" xmlns="" val="291605258"/>
                    </a:ext>
                  </a:extLst>
                </a:gridCol>
              </a:tblGrid>
              <a:tr h="283279">
                <a:tc>
                  <a:txBody>
                    <a:bodyPr/>
                    <a:lstStyle/>
                    <a:p>
                      <a:pPr algn="l" fontAlgn="ctr"/>
                      <a:r>
                        <a:rPr lang="en-SG" sz="700" b="0" i="0" u="none" strike="noStrike" dirty="0">
                          <a:solidFill>
                            <a:schemeClr val="bg1"/>
                          </a:solidFill>
                          <a:effectLst/>
                          <a:latin typeface="Gill Sans Std Light" panose="020B0302020104020203" pitchFamily="34" charset="0"/>
                        </a:rPr>
                        <a:t>Country</a:t>
                      </a:r>
                    </a:p>
                  </a:txBody>
                  <a:tcPr marL="33699"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Rank</a:t>
                      </a:r>
                    </a:p>
                  </a:txBody>
                  <a:tcPr marL="2808" marR="2808" marT="2808" marB="0" anchor="ctr">
                    <a:lnB w="3175" cap="flat" cmpd="sng" algn="ctr">
                      <a:noFill/>
                      <a:prstDash val="solid"/>
                      <a:round/>
                      <a:headEnd type="none" w="med" len="med"/>
                      <a:tailEnd type="none" w="med" len="med"/>
                    </a:lnB>
                    <a:solidFill>
                      <a:srgbClr val="21284C"/>
                    </a:solidFill>
                  </a:tcPr>
                </a:tc>
                <a:tc>
                  <a:txBody>
                    <a:bodyPr/>
                    <a:lstStyle/>
                    <a:p>
                      <a:pPr algn="ctr" fontAlgn="ctr"/>
                      <a:r>
                        <a:rPr lang="en-SG" sz="700" b="0" i="0" u="none" strike="noStrike" dirty="0">
                          <a:solidFill>
                            <a:schemeClr val="bg1"/>
                          </a:solidFill>
                          <a:effectLst/>
                          <a:latin typeface="Gill Sans Std Light" panose="020B0302020104020203" pitchFamily="34" charset="0"/>
                        </a:rPr>
                        <a:t>Overall Score</a:t>
                      </a:r>
                    </a:p>
                  </a:txBody>
                  <a:tcPr marL="2808" marR="2808" marT="2808" marB="0" anchor="ctr">
                    <a:lnB w="3175" cap="flat" cmpd="sng" algn="ctr">
                      <a:noFill/>
                      <a:prstDash val="solid"/>
                      <a:round/>
                      <a:headEnd type="none" w="med" len="med"/>
                      <a:tailEnd type="none" w="med" len="med"/>
                    </a:lnB>
                    <a:solidFill>
                      <a:srgbClr val="21284C"/>
                    </a:solidFill>
                  </a:tcPr>
                </a:tc>
                <a:extLst>
                  <a:ext uri="{0D108BD9-81ED-4DB2-BD59-A6C34878D82A}">
                    <a16:rowId xmlns:a16="http://schemas.microsoft.com/office/drawing/2014/main" xmlns="" val="4244466117"/>
                  </a:ext>
                </a:extLst>
              </a:tr>
              <a:tr h="231999">
                <a:tc>
                  <a:txBody>
                    <a:bodyPr/>
                    <a:lstStyle/>
                    <a:p>
                      <a:pPr algn="l" fontAlgn="b"/>
                      <a:r>
                        <a:rPr lang="en-SG" sz="700" b="0" i="0" u="none" strike="noStrike" dirty="0">
                          <a:solidFill>
                            <a:srgbClr val="000000"/>
                          </a:solidFill>
                          <a:effectLst/>
                          <a:latin typeface="Futura PT Light" panose="020B0402020204020303"/>
                        </a:rPr>
                        <a:t>Bosnia and Herzegovin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7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a:solidFill>
                            <a:srgbClr val="000000"/>
                          </a:solidFill>
                          <a:effectLst/>
                          <a:latin typeface="Futura PT Light" panose="020B0402020204020303"/>
                        </a:rPr>
                        <a:t>0.40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192203624"/>
                  </a:ext>
                </a:extLst>
              </a:tr>
              <a:tr h="148479">
                <a:tc>
                  <a:txBody>
                    <a:bodyPr/>
                    <a:lstStyle/>
                    <a:p>
                      <a:pPr algn="l" fontAlgn="b"/>
                      <a:r>
                        <a:rPr lang="en-SG" sz="700" b="0" i="0" u="none" strike="noStrike" dirty="0">
                          <a:solidFill>
                            <a:srgbClr val="000000"/>
                          </a:solidFill>
                          <a:effectLst/>
                          <a:latin typeface="Futura PT Light" panose="020B0402020204020303"/>
                        </a:rPr>
                        <a:t>Kyrgyzst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8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ctr"/>
                      <a:r>
                        <a:rPr lang="en-SG" sz="700" b="0" i="0" u="none" strike="noStrike" dirty="0">
                          <a:solidFill>
                            <a:srgbClr val="000000"/>
                          </a:solidFill>
                          <a:effectLst/>
                          <a:latin typeface="Futura PT Light" panose="020B0402020204020303"/>
                        </a:rPr>
                        <a:t>0.40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892664313"/>
                  </a:ext>
                </a:extLst>
              </a:tr>
              <a:tr h="148479">
                <a:tc>
                  <a:txBody>
                    <a:bodyPr/>
                    <a:lstStyle/>
                    <a:p>
                      <a:pPr algn="l" fontAlgn="b"/>
                      <a:r>
                        <a:rPr lang="en-SG" sz="700" b="0" i="0" u="none" strike="noStrike">
                          <a:solidFill>
                            <a:srgbClr val="000000"/>
                          </a:solidFill>
                          <a:effectLst/>
                          <a:latin typeface="Futura PT Light" panose="020B0402020204020303"/>
                        </a:rPr>
                        <a:t>Sri Lank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8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40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414547657"/>
                  </a:ext>
                </a:extLst>
              </a:tr>
              <a:tr h="148479">
                <a:tc>
                  <a:txBody>
                    <a:bodyPr/>
                    <a:lstStyle/>
                    <a:p>
                      <a:pPr algn="l" fontAlgn="b"/>
                      <a:r>
                        <a:rPr lang="en-SG" sz="700" b="0" i="0" u="none" strike="noStrike" dirty="0">
                          <a:solidFill>
                            <a:srgbClr val="000000"/>
                          </a:solidFill>
                          <a:effectLst/>
                          <a:latin typeface="Futura PT Light" panose="020B0402020204020303"/>
                        </a:rPr>
                        <a:t>Keny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8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0.40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1187770635"/>
                  </a:ext>
                </a:extLst>
              </a:tr>
              <a:tr h="148479">
                <a:tc>
                  <a:txBody>
                    <a:bodyPr/>
                    <a:lstStyle/>
                    <a:p>
                      <a:pPr algn="l" fontAlgn="b"/>
                      <a:r>
                        <a:rPr lang="en-SG" sz="700" b="0" i="0" u="none" strike="noStrike" dirty="0">
                          <a:solidFill>
                            <a:srgbClr val="000000"/>
                          </a:solidFill>
                          <a:effectLst/>
                          <a:latin typeface="Futura PT Light" panose="020B0402020204020303"/>
                        </a:rPr>
                        <a:t>Tanzan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8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a:solidFill>
                            <a:srgbClr val="000000"/>
                          </a:solidFill>
                          <a:effectLst/>
                          <a:latin typeface="Futura PT Light" panose="020B0402020204020303"/>
                        </a:rPr>
                        <a:t>0.39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622486499"/>
                  </a:ext>
                </a:extLst>
              </a:tr>
              <a:tr h="148479">
                <a:tc>
                  <a:txBody>
                    <a:bodyPr/>
                    <a:lstStyle/>
                    <a:p>
                      <a:pPr algn="l" fontAlgn="b"/>
                      <a:r>
                        <a:rPr lang="en-SG" sz="700" b="0" i="0" u="none" strike="noStrike" dirty="0">
                          <a:solidFill>
                            <a:srgbClr val="000000"/>
                          </a:solidFill>
                          <a:effectLst/>
                          <a:latin typeface="Futura PT Light" panose="020B0402020204020303"/>
                        </a:rPr>
                        <a:t>Ecuador</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8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8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178409923"/>
                  </a:ext>
                </a:extLst>
              </a:tr>
              <a:tr h="148479">
                <a:tc>
                  <a:txBody>
                    <a:bodyPr/>
                    <a:lstStyle/>
                    <a:p>
                      <a:pPr algn="l" fontAlgn="b"/>
                      <a:r>
                        <a:rPr lang="en-SG" sz="700" b="0" i="0" u="none" strike="noStrike" dirty="0">
                          <a:solidFill>
                            <a:srgbClr val="000000"/>
                          </a:solidFill>
                          <a:effectLst/>
                          <a:latin typeface="Futura PT Light" panose="020B0402020204020303"/>
                        </a:rPr>
                        <a:t>Tajikist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8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8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264188818"/>
                  </a:ext>
                </a:extLst>
              </a:tr>
              <a:tr h="148479">
                <a:tc>
                  <a:txBody>
                    <a:bodyPr/>
                    <a:lstStyle/>
                    <a:p>
                      <a:pPr algn="l" fontAlgn="b"/>
                      <a:r>
                        <a:rPr lang="en-SG" sz="700" b="0" i="0" u="none" strike="noStrike" dirty="0">
                          <a:solidFill>
                            <a:srgbClr val="000000"/>
                          </a:solidFill>
                          <a:effectLst/>
                          <a:latin typeface="Futura PT Light" panose="020B0402020204020303"/>
                        </a:rPr>
                        <a:t>Ugand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8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8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580803853"/>
                  </a:ext>
                </a:extLst>
              </a:tr>
              <a:tr h="148479">
                <a:tc>
                  <a:txBody>
                    <a:bodyPr/>
                    <a:lstStyle/>
                    <a:p>
                      <a:pPr algn="l" fontAlgn="b"/>
                      <a:r>
                        <a:rPr lang="en-SG" sz="700" b="0" i="0" u="none" strike="noStrike" dirty="0">
                          <a:solidFill>
                            <a:srgbClr val="000000"/>
                          </a:solidFill>
                          <a:effectLst/>
                          <a:latin typeface="Futura PT Light" panose="020B0402020204020303"/>
                        </a:rPr>
                        <a:t>Nicaragu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8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8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905516273"/>
                  </a:ext>
                </a:extLst>
              </a:tr>
              <a:tr h="148479">
                <a:tc>
                  <a:txBody>
                    <a:bodyPr/>
                    <a:lstStyle/>
                    <a:p>
                      <a:pPr algn="l" fontAlgn="b"/>
                      <a:r>
                        <a:rPr lang="en-SG" sz="700" b="0" i="0" u="none" strike="noStrike" dirty="0">
                          <a:solidFill>
                            <a:srgbClr val="000000"/>
                          </a:solidFill>
                          <a:effectLst/>
                          <a:latin typeface="Futura PT Light" panose="020B0402020204020303"/>
                        </a:rPr>
                        <a:t>Alger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8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7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080809609"/>
                  </a:ext>
                </a:extLst>
              </a:tr>
              <a:tr h="148479">
                <a:tc>
                  <a:txBody>
                    <a:bodyPr/>
                    <a:lstStyle/>
                    <a:p>
                      <a:pPr algn="l" fontAlgn="b"/>
                      <a:r>
                        <a:rPr lang="en-SG" sz="700" b="0" i="0" u="none" strike="noStrike" dirty="0">
                          <a:solidFill>
                            <a:srgbClr val="000000"/>
                          </a:solidFill>
                          <a:effectLst/>
                          <a:latin typeface="Futura PT Light" panose="020B0402020204020303"/>
                        </a:rPr>
                        <a:t>Guatemal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8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73</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3003173095"/>
                  </a:ext>
                </a:extLst>
              </a:tr>
              <a:tr h="148479">
                <a:tc>
                  <a:txBody>
                    <a:bodyPr/>
                    <a:lstStyle/>
                    <a:p>
                      <a:pPr algn="l" fontAlgn="b"/>
                      <a:r>
                        <a:rPr lang="en-SG" sz="700" b="0" i="0" u="none" strike="noStrike">
                          <a:solidFill>
                            <a:srgbClr val="000000"/>
                          </a:solidFill>
                          <a:effectLst/>
                          <a:latin typeface="Futura PT Light" panose="020B0402020204020303"/>
                        </a:rPr>
                        <a:t>Cambod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9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0.36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3724028217"/>
                  </a:ext>
                </a:extLst>
              </a:tr>
              <a:tr h="148479">
                <a:tc>
                  <a:txBody>
                    <a:bodyPr/>
                    <a:lstStyle/>
                    <a:p>
                      <a:pPr algn="l" fontAlgn="b"/>
                      <a:r>
                        <a:rPr lang="en-SG" sz="700" b="0" i="0" u="none" strike="noStrike">
                          <a:solidFill>
                            <a:srgbClr val="000000"/>
                          </a:solidFill>
                          <a:effectLst/>
                          <a:latin typeface="Futura PT Light" panose="020B0402020204020303"/>
                        </a:rPr>
                        <a:t>Malawi</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9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a:solidFill>
                            <a:srgbClr val="000000"/>
                          </a:solidFill>
                          <a:effectLst/>
                          <a:latin typeface="Futura PT Light" panose="020B0402020204020303"/>
                        </a:rPr>
                        <a:t>0.34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24188486"/>
                  </a:ext>
                </a:extLst>
              </a:tr>
              <a:tr h="148479">
                <a:tc>
                  <a:txBody>
                    <a:bodyPr/>
                    <a:lstStyle/>
                    <a:p>
                      <a:pPr algn="l" fontAlgn="b"/>
                      <a:r>
                        <a:rPr lang="en-SG" sz="700" b="0" i="0" u="none" strike="noStrike" dirty="0">
                          <a:solidFill>
                            <a:srgbClr val="000000"/>
                          </a:solidFill>
                          <a:effectLst/>
                          <a:latin typeface="Futura PT Light" panose="020B0402020204020303"/>
                        </a:rPr>
                        <a:t>Nepal</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9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a:solidFill>
                            <a:srgbClr val="000000"/>
                          </a:solidFill>
                          <a:effectLst/>
                          <a:latin typeface="Futura PT Light" panose="020B0402020204020303"/>
                        </a:rPr>
                        <a:t>0.34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74292897"/>
                  </a:ext>
                </a:extLst>
              </a:tr>
              <a:tr h="148479">
                <a:tc>
                  <a:txBody>
                    <a:bodyPr/>
                    <a:lstStyle/>
                    <a:p>
                      <a:pPr algn="l" fontAlgn="b"/>
                      <a:r>
                        <a:rPr lang="en-SG" sz="700" b="0" i="0" u="none" strike="noStrike" dirty="0">
                          <a:solidFill>
                            <a:srgbClr val="000000"/>
                          </a:solidFill>
                          <a:effectLst/>
                          <a:latin typeface="Futura PT Light" panose="020B0402020204020303"/>
                        </a:rPr>
                        <a:t>Madagascar</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9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4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1680986359"/>
                  </a:ext>
                </a:extLst>
              </a:tr>
              <a:tr h="148479">
                <a:tc>
                  <a:txBody>
                    <a:bodyPr/>
                    <a:lstStyle/>
                    <a:p>
                      <a:pPr algn="l" fontAlgn="b"/>
                      <a:r>
                        <a:rPr lang="en-SG" sz="700" b="0" i="0" u="none" strike="noStrike" dirty="0">
                          <a:solidFill>
                            <a:srgbClr val="000000"/>
                          </a:solidFill>
                          <a:effectLst/>
                          <a:latin typeface="Futura PT Light" panose="020B0402020204020303"/>
                        </a:rPr>
                        <a:t>Pakista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9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4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2932635975"/>
                  </a:ext>
                </a:extLst>
              </a:tr>
              <a:tr h="148479">
                <a:tc>
                  <a:txBody>
                    <a:bodyPr/>
                    <a:lstStyle/>
                    <a:p>
                      <a:pPr algn="l" fontAlgn="b"/>
                      <a:r>
                        <a:rPr lang="en-SG" sz="700" b="0" i="0" u="none" strike="noStrike" dirty="0">
                          <a:solidFill>
                            <a:srgbClr val="000000"/>
                          </a:solidFill>
                          <a:effectLst/>
                          <a:latin typeface="Futura PT Light" panose="020B0402020204020303"/>
                        </a:rPr>
                        <a:t>Lebanon</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9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3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2177118721"/>
                  </a:ext>
                </a:extLst>
              </a:tr>
              <a:tr h="148479">
                <a:tc>
                  <a:txBody>
                    <a:bodyPr/>
                    <a:lstStyle/>
                    <a:p>
                      <a:pPr algn="l" fontAlgn="b"/>
                      <a:r>
                        <a:rPr lang="en-SG" sz="700" b="0" i="0" u="none" strike="noStrike" dirty="0">
                          <a:solidFill>
                            <a:srgbClr val="000000"/>
                          </a:solidFill>
                          <a:effectLst/>
                          <a:latin typeface="Futura PT Light" panose="020B0402020204020303"/>
                        </a:rPr>
                        <a:t>Burkina Faso</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9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3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404447683"/>
                  </a:ext>
                </a:extLst>
              </a:tr>
              <a:tr h="148479">
                <a:tc>
                  <a:txBody>
                    <a:bodyPr/>
                    <a:lstStyle/>
                    <a:p>
                      <a:pPr algn="l" fontAlgn="b"/>
                      <a:r>
                        <a:rPr lang="en-SG" sz="700" b="0" i="0" u="none" strike="noStrike" dirty="0">
                          <a:solidFill>
                            <a:srgbClr val="000000"/>
                          </a:solidFill>
                          <a:effectLst/>
                          <a:latin typeface="Futura PT Light" panose="020B0402020204020303"/>
                        </a:rPr>
                        <a:t>Ethiop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97</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3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979947126"/>
                  </a:ext>
                </a:extLst>
              </a:tr>
              <a:tr h="148479">
                <a:tc>
                  <a:txBody>
                    <a:bodyPr/>
                    <a:lstStyle/>
                    <a:p>
                      <a:pPr algn="l" fontAlgn="b"/>
                      <a:r>
                        <a:rPr lang="en-SG" sz="700" b="0" i="0" u="none" strike="noStrike" dirty="0">
                          <a:solidFill>
                            <a:srgbClr val="000000"/>
                          </a:solidFill>
                          <a:effectLst/>
                          <a:latin typeface="Futura PT Light" panose="020B0402020204020303"/>
                        </a:rPr>
                        <a:t>Zamb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9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3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333835718"/>
                  </a:ext>
                </a:extLst>
              </a:tr>
              <a:tr h="148479">
                <a:tc>
                  <a:txBody>
                    <a:bodyPr/>
                    <a:lstStyle/>
                    <a:p>
                      <a:pPr algn="l" fontAlgn="b"/>
                      <a:r>
                        <a:rPr lang="en-SG" sz="700" b="0" i="0" u="none" strike="noStrike" dirty="0">
                          <a:solidFill>
                            <a:srgbClr val="000000"/>
                          </a:solidFill>
                          <a:effectLst/>
                          <a:latin typeface="Futura PT Light" panose="020B0402020204020303"/>
                        </a:rPr>
                        <a:t>Mozambique</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99</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tc>
                  <a:txBody>
                    <a:bodyPr/>
                    <a:lstStyle/>
                    <a:p>
                      <a:pPr algn="ctr" fontAlgn="b"/>
                      <a:r>
                        <a:rPr lang="en-SG" sz="700" b="0" i="0" u="none" strike="noStrike" dirty="0">
                          <a:solidFill>
                            <a:srgbClr val="000000"/>
                          </a:solidFill>
                          <a:effectLst/>
                          <a:latin typeface="Futura PT Light" panose="020B0402020204020303"/>
                        </a:rPr>
                        <a:t>0.315</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1F274C"/>
                      </a:solidFill>
                      <a:prstDash val="solid"/>
                      <a:round/>
                      <a:headEnd type="none" w="med" len="med"/>
                      <a:tailEnd type="none" w="med" len="med"/>
                    </a:lnB>
                    <a:lnTlToBr w="12700" cmpd="sng">
                      <a:noFill/>
                      <a:prstDash val="solid"/>
                    </a:lnTlToBr>
                    <a:lnBlToTr w="12700" cmpd="sng">
                      <a:noFill/>
                      <a:prstDash val="solid"/>
                    </a:lnBlToTr>
                    <a:solidFill>
                      <a:srgbClr val="B1DCC1"/>
                    </a:solidFill>
                  </a:tcPr>
                </a:tc>
                <a:extLst>
                  <a:ext uri="{0D108BD9-81ED-4DB2-BD59-A6C34878D82A}">
                    <a16:rowId xmlns:a16="http://schemas.microsoft.com/office/drawing/2014/main" xmlns="" val="3181435476"/>
                  </a:ext>
                </a:extLst>
              </a:tr>
              <a:tr h="148479">
                <a:tc>
                  <a:txBody>
                    <a:bodyPr/>
                    <a:lstStyle/>
                    <a:p>
                      <a:pPr algn="l" fontAlgn="b"/>
                      <a:r>
                        <a:rPr lang="en-SG" sz="700" b="0" i="0" u="none" strike="noStrike" dirty="0">
                          <a:solidFill>
                            <a:srgbClr val="000000"/>
                          </a:solidFill>
                          <a:effectLst/>
                          <a:latin typeface="Futura PT Light" panose="020B0402020204020303"/>
                        </a:rPr>
                        <a:t>Iran, Islamic Rep.</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100</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tc>
                  <a:txBody>
                    <a:bodyPr/>
                    <a:lstStyle/>
                    <a:p>
                      <a:pPr algn="ctr" fontAlgn="b"/>
                      <a:r>
                        <a:rPr lang="en-SG" sz="700" b="0" i="0" u="none" strike="noStrike" dirty="0">
                          <a:solidFill>
                            <a:srgbClr val="000000"/>
                          </a:solidFill>
                          <a:effectLst/>
                          <a:latin typeface="Futura PT Light" panose="020B0402020204020303"/>
                        </a:rPr>
                        <a:t>0.314</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1F274C"/>
                      </a:solidFill>
                      <a:prstDash val="solid"/>
                      <a:round/>
                      <a:headEnd type="none" w="med" len="med"/>
                      <a:tailEnd type="none" w="med" len="med"/>
                    </a:lnT>
                    <a:lnB w="3175" cap="flat" cmpd="sng" algn="ctr">
                      <a:solidFill>
                        <a:srgbClr val="283851"/>
                      </a:solidFill>
                      <a:prstDash val="solid"/>
                      <a:round/>
                      <a:headEnd type="none" w="med" len="med"/>
                      <a:tailEnd type="none" w="med" len="med"/>
                    </a:lnB>
                    <a:lnTlToBr w="12700" cmpd="sng">
                      <a:noFill/>
                      <a:prstDash val="solid"/>
                    </a:lnTlToBr>
                    <a:lnBlToTr w="12700" cmpd="sng">
                      <a:noFill/>
                      <a:prstDash val="solid"/>
                    </a:lnBlToTr>
                    <a:solidFill>
                      <a:srgbClr val="FCB8B6"/>
                    </a:solidFill>
                  </a:tcPr>
                </a:tc>
                <a:extLst>
                  <a:ext uri="{0D108BD9-81ED-4DB2-BD59-A6C34878D82A}">
                    <a16:rowId xmlns:a16="http://schemas.microsoft.com/office/drawing/2014/main" xmlns="" val="133895187"/>
                  </a:ext>
                </a:extLst>
              </a:tr>
              <a:tr h="148479">
                <a:tc>
                  <a:txBody>
                    <a:bodyPr/>
                    <a:lstStyle/>
                    <a:p>
                      <a:pPr algn="l" fontAlgn="b"/>
                      <a:r>
                        <a:rPr lang="en-SG" sz="700" b="0" i="0" u="none" strike="noStrike">
                          <a:solidFill>
                            <a:srgbClr val="000000"/>
                          </a:solidFill>
                          <a:effectLst/>
                          <a:latin typeface="Futura PT Light" panose="020B0402020204020303"/>
                        </a:rPr>
                        <a:t>Mali</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101</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700" b="0" i="0" u="none" strike="noStrike" dirty="0">
                          <a:solidFill>
                            <a:srgbClr val="000000"/>
                          </a:solidFill>
                          <a:effectLst/>
                          <a:latin typeface="Futura PT Light" panose="020B0402020204020303"/>
                        </a:rPr>
                        <a:t>0.306</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83851"/>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688187521"/>
                  </a:ext>
                </a:extLst>
              </a:tr>
              <a:tr h="148479">
                <a:tc>
                  <a:txBody>
                    <a:bodyPr/>
                    <a:lstStyle/>
                    <a:p>
                      <a:pPr algn="l" fontAlgn="b"/>
                      <a:r>
                        <a:rPr lang="en-SG" sz="700" b="0" i="0" u="none" strike="noStrike" dirty="0">
                          <a:solidFill>
                            <a:srgbClr val="000000"/>
                          </a:solidFill>
                          <a:effectLst/>
                          <a:latin typeface="Futura PT Light" panose="020B0402020204020303"/>
                        </a:rPr>
                        <a:t>Nigeria</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a:solidFill>
                            <a:srgbClr val="000000"/>
                          </a:solidFill>
                          <a:effectLst/>
                          <a:latin typeface="Futura PT Light" panose="020B0402020204020303"/>
                        </a:rPr>
                        <a:t>102</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SG" sz="700" b="0" i="0" u="none" strike="noStrike" dirty="0">
                          <a:solidFill>
                            <a:srgbClr val="000000"/>
                          </a:solidFill>
                          <a:effectLst/>
                          <a:latin typeface="Futura PT Light" panose="020B0402020204020303"/>
                        </a:rPr>
                        <a:t>0.288</a:t>
                      </a: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2358532792"/>
                  </a:ext>
                </a:extLst>
              </a:tr>
              <a:tr h="148479">
                <a:tc>
                  <a:txBody>
                    <a:bodyPr/>
                    <a:lstStyle/>
                    <a:p>
                      <a:pPr algn="l" fontAlgn="b"/>
                      <a:r>
                        <a:rPr lang="en-US" sz="700" b="0" i="0" u="none" strike="noStrike" dirty="0">
                          <a:solidFill>
                            <a:srgbClr val="000000"/>
                          </a:solidFill>
                          <a:effectLst/>
                          <a:latin typeface="Futura PT Light" panose="020B0402020204020303"/>
                        </a:rPr>
                        <a:t>Zimbabwe</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rgbClr val="000000"/>
                          </a:solidFill>
                          <a:effectLst/>
                          <a:latin typeface="Futura PT Light" panose="020B0402020204020303"/>
                        </a:rPr>
                        <a:t>103</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00" b="0" i="0" u="none" strike="noStrike" dirty="0">
                          <a:solidFill>
                            <a:srgbClr val="000000"/>
                          </a:solidFill>
                          <a:effectLst/>
                          <a:latin typeface="Futura PT Light" panose="020B0402020204020303"/>
                        </a:rPr>
                        <a:t>0.266</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865522925"/>
                  </a:ext>
                </a:extLst>
              </a:tr>
              <a:tr h="148479">
                <a:tc>
                  <a:txBody>
                    <a:bodyPr/>
                    <a:lstStyle/>
                    <a:p>
                      <a:pPr algn="l" fontAlgn="b"/>
                      <a:r>
                        <a:rPr lang="en-US" sz="700" b="0" i="0" u="none" strike="noStrike" dirty="0">
                          <a:solidFill>
                            <a:srgbClr val="000000"/>
                          </a:solidFill>
                          <a:effectLst/>
                          <a:latin typeface="Futura PT Light" panose="020B0402020204020303"/>
                        </a:rPr>
                        <a:t>Venezuela</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US" sz="700" b="0" i="0" u="none" strike="noStrike" dirty="0">
                          <a:solidFill>
                            <a:srgbClr val="000000"/>
                          </a:solidFill>
                          <a:effectLst/>
                          <a:latin typeface="Futura PT Light" panose="020B0402020204020303"/>
                        </a:rPr>
                        <a:t>104</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tc>
                  <a:txBody>
                    <a:bodyPr/>
                    <a:lstStyle/>
                    <a:p>
                      <a:pPr algn="ctr" fontAlgn="b"/>
                      <a:r>
                        <a:rPr lang="en-US" sz="700" b="0" i="0" u="none" strike="noStrike" dirty="0">
                          <a:solidFill>
                            <a:srgbClr val="000000"/>
                          </a:solidFill>
                          <a:effectLst/>
                          <a:latin typeface="Futura PT Light" panose="020B0402020204020303"/>
                        </a:rPr>
                        <a:t>0.166</a:t>
                      </a:r>
                      <a:endParaRPr lang="en-SG" sz="700" b="0" i="0" u="none" strike="noStrike" dirty="0">
                        <a:solidFill>
                          <a:srgbClr val="000000"/>
                        </a:solidFill>
                        <a:effectLst/>
                        <a:latin typeface="Futura PT Light" panose="020B0402020204020303"/>
                      </a:endParaRPr>
                    </a:p>
                  </a:txBody>
                  <a:tcPr marL="7021" marR="7021" marT="702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21284C"/>
                      </a:solidFill>
                      <a:prstDash val="solid"/>
                      <a:round/>
                      <a:headEnd type="none" w="med" len="med"/>
                      <a:tailEnd type="none" w="med" len="med"/>
                    </a:lnT>
                    <a:lnB w="3175" cap="flat" cmpd="sng" algn="ctr">
                      <a:solidFill>
                        <a:srgbClr val="21284C"/>
                      </a:solidFill>
                      <a:prstDash val="solid"/>
                      <a:round/>
                      <a:headEnd type="none" w="med" len="med"/>
                      <a:tailEnd type="none" w="med" len="med"/>
                    </a:lnB>
                    <a:lnTlToBr w="12700" cmpd="sng">
                      <a:noFill/>
                      <a:prstDash val="solid"/>
                    </a:lnTlToBr>
                    <a:lnBlToTr w="12700" cmpd="sng">
                      <a:noFill/>
                      <a:prstDash val="solid"/>
                    </a:lnBlToTr>
                    <a:solidFill>
                      <a:srgbClr val="F4F4F6"/>
                    </a:solidFill>
                  </a:tcPr>
                </a:tc>
                <a:extLst>
                  <a:ext uri="{0D108BD9-81ED-4DB2-BD59-A6C34878D82A}">
                    <a16:rowId xmlns:a16="http://schemas.microsoft.com/office/drawing/2014/main" xmlns="" val="1558420780"/>
                  </a:ext>
                </a:extLst>
              </a:tr>
            </a:tbl>
          </a:graphicData>
        </a:graphic>
      </p:graphicFrame>
      <p:sp>
        <p:nvSpPr>
          <p:cNvPr id="9" name="TextBox 8">
            <a:extLst>
              <a:ext uri="{FF2B5EF4-FFF2-40B4-BE49-F238E27FC236}">
                <a16:creationId xmlns:a16="http://schemas.microsoft.com/office/drawing/2014/main" xmlns="" id="{38139F2E-F0C3-4B3F-B03A-9BD34B00F403}"/>
              </a:ext>
            </a:extLst>
          </p:cNvPr>
          <p:cNvSpPr txBox="1"/>
          <p:nvPr/>
        </p:nvSpPr>
        <p:spPr>
          <a:xfrm>
            <a:off x="7808490" y="1158897"/>
            <a:ext cx="1347947" cy="364715"/>
          </a:xfrm>
          <a:prstGeom prst="rect">
            <a:avLst/>
          </a:prstGeom>
          <a:noFill/>
        </p:spPr>
        <p:txBody>
          <a:bodyPr wrap="square" rtlCol="0">
            <a:spAutoFit/>
          </a:bodyPr>
          <a:lstStyle/>
          <a:p>
            <a:r>
              <a:rPr lang="en-US" sz="885" dirty="0">
                <a:solidFill>
                  <a:srgbClr val="B1DCC1"/>
                </a:solidFill>
                <a:latin typeface="Gill Sans Std Light" panose="020B0302020104020203" pitchFamily="34" charset="0"/>
                <a:sym typeface="Wingdings" panose="05000000000000000000" pitchFamily="2" charset="2"/>
              </a:rPr>
              <a:t></a:t>
            </a:r>
            <a:r>
              <a:rPr lang="en-US" sz="885" dirty="0">
                <a:latin typeface="Gill Sans Std Light" panose="020B0302020104020203" pitchFamily="34" charset="0"/>
              </a:rPr>
              <a:t> – increased in rank</a:t>
            </a:r>
          </a:p>
          <a:p>
            <a:r>
              <a:rPr lang="en-US" sz="885" dirty="0">
                <a:solidFill>
                  <a:srgbClr val="FCB8B6"/>
                </a:solidFill>
                <a:latin typeface="Gill Sans Std Light" panose="020B0302020104020203" pitchFamily="34" charset="0"/>
                <a:sym typeface="Wingdings" panose="05000000000000000000" pitchFamily="2" charset="2"/>
              </a:rPr>
              <a:t></a:t>
            </a:r>
            <a:r>
              <a:rPr lang="en-US" sz="885" dirty="0">
                <a:latin typeface="Gill Sans Std Light" panose="020B0302020104020203" pitchFamily="34" charset="0"/>
              </a:rPr>
              <a:t> – decreased in rank</a:t>
            </a:r>
            <a:endParaRPr lang="en-SG" sz="885" dirty="0">
              <a:latin typeface="Gill Sans Std Light" panose="020B0302020104020203" pitchFamily="34" charset="0"/>
            </a:endParaRPr>
          </a:p>
        </p:txBody>
      </p:sp>
      <p:sp>
        <p:nvSpPr>
          <p:cNvPr id="10" name="Title 2">
            <a:extLst>
              <a:ext uri="{FF2B5EF4-FFF2-40B4-BE49-F238E27FC236}">
                <a16:creationId xmlns:a16="http://schemas.microsoft.com/office/drawing/2014/main" xmlns="" id="{1FD5846F-CBEF-48E9-992E-743E420D353C}"/>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List of 104 Countries (option 1)</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434001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xmlns="" id="{1FD07E70-2841-4296-BCE5-C0B9504E291A}"/>
              </a:ext>
            </a:extLst>
          </p:cNvPr>
          <p:cNvSpPr/>
          <p:nvPr/>
        </p:nvSpPr>
        <p:spPr>
          <a:xfrm>
            <a:off x="1" y="2733159"/>
            <a:ext cx="9906000" cy="1961262"/>
          </a:xfrm>
          <a:prstGeom prst="rect">
            <a:avLst/>
          </a:prstGeom>
          <a:solidFill>
            <a:srgbClr val="E9D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pic>
        <p:nvPicPr>
          <p:cNvPr id="46" name="Picture 45">
            <a:extLst>
              <a:ext uri="{FF2B5EF4-FFF2-40B4-BE49-F238E27FC236}">
                <a16:creationId xmlns:a16="http://schemas.microsoft.com/office/drawing/2014/main" xmlns="" id="{B6191028-849C-4F71-9E96-823E1404DE5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465"/>
          <a:stretch/>
        </p:blipFill>
        <p:spPr>
          <a:xfrm>
            <a:off x="4144607" y="3018701"/>
            <a:ext cx="1623659" cy="1404446"/>
          </a:xfrm>
          <a:prstGeom prst="hexagon">
            <a:avLst/>
          </a:prstGeom>
          <a:ln>
            <a:solidFill>
              <a:srgbClr val="9A7A49"/>
            </a:solidFill>
          </a:ln>
        </p:spPr>
      </p:pic>
      <p:sp>
        <p:nvSpPr>
          <p:cNvPr id="12" name="Hexagon 11">
            <a:extLst>
              <a:ext uri="{FF2B5EF4-FFF2-40B4-BE49-F238E27FC236}">
                <a16:creationId xmlns:a16="http://schemas.microsoft.com/office/drawing/2014/main" xmlns="" id="{D68C42AA-6095-475A-8FD0-614337CC712A}"/>
              </a:ext>
            </a:extLst>
          </p:cNvPr>
          <p:cNvSpPr/>
          <p:nvPr/>
        </p:nvSpPr>
        <p:spPr>
          <a:xfrm>
            <a:off x="2926798" y="1998529"/>
            <a:ext cx="4101903" cy="3479384"/>
          </a:xfrm>
          <a:prstGeom prst="hexagon">
            <a:avLst/>
          </a:prstGeom>
          <a:noFill/>
          <a:ln>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pic>
        <p:nvPicPr>
          <p:cNvPr id="16" name="Picture 15">
            <a:extLst>
              <a:ext uri="{FF2B5EF4-FFF2-40B4-BE49-F238E27FC236}">
                <a16:creationId xmlns:a16="http://schemas.microsoft.com/office/drawing/2014/main" xmlns="" id="{F97913F0-7175-4F57-9269-7A95F8FE76B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172800" y="1614133"/>
            <a:ext cx="1560399" cy="1358404"/>
          </a:xfrm>
          <a:prstGeom prst="hexagon">
            <a:avLst/>
          </a:prstGeom>
          <a:ln w="12700">
            <a:solidFill>
              <a:srgbClr val="966E32"/>
            </a:solidFill>
          </a:ln>
        </p:spPr>
      </p:pic>
      <p:pic>
        <p:nvPicPr>
          <p:cNvPr id="48" name="Picture 47">
            <a:extLst>
              <a:ext uri="{FF2B5EF4-FFF2-40B4-BE49-F238E27FC236}">
                <a16:creationId xmlns:a16="http://schemas.microsoft.com/office/drawing/2014/main" xmlns="" id="{CBF87520-AA4B-4445-8B9E-94E5A92CBFB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58705" y="4483109"/>
            <a:ext cx="1595467" cy="1369690"/>
          </a:xfrm>
          <a:prstGeom prst="hexagon">
            <a:avLst/>
          </a:prstGeom>
          <a:ln w="12700">
            <a:solidFill>
              <a:srgbClr val="9A7A49"/>
            </a:solidFill>
          </a:ln>
        </p:spPr>
      </p:pic>
      <p:pic>
        <p:nvPicPr>
          <p:cNvPr id="28" name="Picture 27">
            <a:extLst>
              <a:ext uri="{FF2B5EF4-FFF2-40B4-BE49-F238E27FC236}">
                <a16:creationId xmlns:a16="http://schemas.microsoft.com/office/drawing/2014/main" xmlns="" id="{D451CBCB-8146-4F6A-A0FF-39AC3B089EC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823110" y="2343343"/>
            <a:ext cx="1587495" cy="1345172"/>
          </a:xfrm>
          <a:prstGeom prst="hexagon">
            <a:avLst/>
          </a:prstGeom>
          <a:ln w="12700">
            <a:solidFill>
              <a:srgbClr val="966E32"/>
            </a:solidFill>
          </a:ln>
        </p:spPr>
      </p:pic>
      <p:pic>
        <p:nvPicPr>
          <p:cNvPr id="38" name="Picture 37">
            <a:extLst>
              <a:ext uri="{FF2B5EF4-FFF2-40B4-BE49-F238E27FC236}">
                <a16:creationId xmlns:a16="http://schemas.microsoft.com/office/drawing/2014/main" xmlns="" id="{BD6EAA4A-E8C6-4F0C-9717-45F7E5D3522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495396" y="3775300"/>
            <a:ext cx="1560399" cy="1351912"/>
          </a:xfrm>
          <a:prstGeom prst="hexagon">
            <a:avLst/>
          </a:prstGeom>
          <a:ln w="12700">
            <a:solidFill>
              <a:srgbClr val="966E32"/>
            </a:solidFill>
          </a:ln>
        </p:spPr>
      </p:pic>
      <p:pic>
        <p:nvPicPr>
          <p:cNvPr id="40" name="Picture 39">
            <a:extLst>
              <a:ext uri="{FF2B5EF4-FFF2-40B4-BE49-F238E27FC236}">
                <a16:creationId xmlns:a16="http://schemas.microsoft.com/office/drawing/2014/main" xmlns="" id="{6A05BD51-58FD-407C-9F8A-9D8F7562B2A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495396" y="2320987"/>
            <a:ext cx="1560400" cy="1387839"/>
          </a:xfrm>
          <a:prstGeom prst="hexagon">
            <a:avLst/>
          </a:prstGeom>
          <a:ln w="12700">
            <a:solidFill>
              <a:srgbClr val="966E32"/>
            </a:solidFill>
          </a:ln>
        </p:spPr>
      </p:pic>
      <p:pic>
        <p:nvPicPr>
          <p:cNvPr id="44" name="Picture 43">
            <a:extLst>
              <a:ext uri="{FF2B5EF4-FFF2-40B4-BE49-F238E27FC236}">
                <a16:creationId xmlns:a16="http://schemas.microsoft.com/office/drawing/2014/main" xmlns="" id="{B9766E4A-2A13-45F3-85AE-974E571AC43A}"/>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823109" y="3766945"/>
            <a:ext cx="1594369" cy="1368618"/>
          </a:xfrm>
          <a:prstGeom prst="hexagon">
            <a:avLst/>
          </a:prstGeom>
          <a:ln w="12700">
            <a:solidFill>
              <a:srgbClr val="966E32"/>
            </a:solidFill>
          </a:ln>
        </p:spPr>
      </p:pic>
      <p:sp>
        <p:nvSpPr>
          <p:cNvPr id="13" name="Title 2">
            <a:extLst>
              <a:ext uri="{FF2B5EF4-FFF2-40B4-BE49-F238E27FC236}">
                <a16:creationId xmlns:a16="http://schemas.microsoft.com/office/drawing/2014/main" xmlns="" id="{9203A841-E682-45B4-9C65-1C7753B118B5}"/>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US" sz="2400" dirty="0">
                <a:latin typeface="Futura PT Book" panose="020B0502020204020303" pitchFamily="34" charset="0"/>
                <a:cs typeface="Poppins Light" panose="00000400000000000000" pitchFamily="2" charset="0"/>
              </a:rPr>
              <a:t>All Governments Need to Build Capabilities</a:t>
            </a:r>
          </a:p>
        </p:txBody>
      </p:sp>
    </p:spTree>
    <p:extLst>
      <p:ext uri="{BB962C8B-B14F-4D97-AF65-F5344CB8AC3E}">
        <p14:creationId xmlns:p14="http://schemas.microsoft.com/office/powerpoint/2010/main" val="1143272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0D089FB5-1CCF-47E9-BDC7-026E4E6A87F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95686" y="0"/>
            <a:ext cx="3326927" cy="2264255"/>
          </a:xfrm>
          <a:prstGeom prst="rect">
            <a:avLst/>
          </a:prstGeom>
        </p:spPr>
      </p:pic>
      <p:sp>
        <p:nvSpPr>
          <p:cNvPr id="3" name="Title 2">
            <a:extLst>
              <a:ext uri="{FF2B5EF4-FFF2-40B4-BE49-F238E27FC236}">
                <a16:creationId xmlns:a16="http://schemas.microsoft.com/office/drawing/2014/main" xmlns="" id="{33A2021B-30BE-421D-8CC8-E75FAF92E52E}"/>
              </a:ext>
            </a:extLst>
          </p:cNvPr>
          <p:cNvSpPr>
            <a:spLocks noGrp="1"/>
          </p:cNvSpPr>
          <p:nvPr>
            <p:ph type="title"/>
          </p:nvPr>
        </p:nvSpPr>
        <p:spPr>
          <a:xfrm>
            <a:off x="3482195" y="2980068"/>
            <a:ext cx="2968437" cy="976899"/>
          </a:xfrm>
        </p:spPr>
        <p:txBody>
          <a:bodyPr>
            <a:noAutofit/>
          </a:bodyPr>
          <a:lstStyle/>
          <a:p>
            <a:pPr algn="ctr"/>
            <a:r>
              <a:rPr lang="en-US" sz="2948" dirty="0">
                <a:latin typeface="Futura PT Book" panose="020B0502020204020303" pitchFamily="34" charset="0"/>
                <a:cs typeface="Poppins" panose="00000500000000000000" pitchFamily="2" charset="0"/>
              </a:rPr>
              <a:t>What are the capabilities that matter?</a:t>
            </a:r>
          </a:p>
        </p:txBody>
      </p:sp>
      <p:pic>
        <p:nvPicPr>
          <p:cNvPr id="19" name="Picture 18">
            <a:extLst>
              <a:ext uri="{FF2B5EF4-FFF2-40B4-BE49-F238E27FC236}">
                <a16:creationId xmlns:a16="http://schemas.microsoft.com/office/drawing/2014/main" xmlns="" id="{6AD48B07-87BE-46A6-B9AF-2719C919A9C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6637531" y="4566670"/>
            <a:ext cx="3269713" cy="2291330"/>
          </a:xfrm>
          <a:prstGeom prst="rect">
            <a:avLst/>
          </a:prstGeom>
        </p:spPr>
      </p:pic>
      <p:pic>
        <p:nvPicPr>
          <p:cNvPr id="17" name="Picture 16">
            <a:extLst>
              <a:ext uri="{FF2B5EF4-FFF2-40B4-BE49-F238E27FC236}">
                <a16:creationId xmlns:a16="http://schemas.microsoft.com/office/drawing/2014/main" xmlns="" id="{A70B4448-BD00-4F74-986B-1351071043E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304"/>
          <a:stretch/>
        </p:blipFill>
        <p:spPr>
          <a:xfrm>
            <a:off x="-1" y="-12642"/>
            <a:ext cx="3297533" cy="2276897"/>
          </a:xfrm>
          <a:prstGeom prst="rect">
            <a:avLst/>
          </a:prstGeom>
        </p:spPr>
      </p:pic>
      <p:pic>
        <p:nvPicPr>
          <p:cNvPr id="7" name="Picture 6">
            <a:extLst>
              <a:ext uri="{FF2B5EF4-FFF2-40B4-BE49-F238E27FC236}">
                <a16:creationId xmlns:a16="http://schemas.microsoft.com/office/drawing/2014/main" xmlns="" id="{CEE224CC-315C-40E1-A654-2BAC79160D5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325931" y="4573554"/>
            <a:ext cx="3305756" cy="2291330"/>
          </a:xfrm>
          <a:prstGeom prst="rect">
            <a:avLst/>
          </a:prstGeom>
        </p:spPr>
      </p:pic>
      <p:pic>
        <p:nvPicPr>
          <p:cNvPr id="25" name="Picture 24">
            <a:extLst>
              <a:ext uri="{FF2B5EF4-FFF2-40B4-BE49-F238E27FC236}">
                <a16:creationId xmlns:a16="http://schemas.microsoft.com/office/drawing/2014/main" xmlns="" id="{5FFBC4A2-9043-4A6A-8918-915E5DA6889E}"/>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t="-119"/>
          <a:stretch/>
        </p:blipFill>
        <p:spPr>
          <a:xfrm>
            <a:off x="6624593" y="-7725"/>
            <a:ext cx="3281405" cy="2255457"/>
          </a:xfrm>
          <a:prstGeom prst="rect">
            <a:avLst/>
          </a:prstGeom>
        </p:spPr>
      </p:pic>
      <p:pic>
        <p:nvPicPr>
          <p:cNvPr id="29" name="Picture 28">
            <a:extLst>
              <a:ext uri="{FF2B5EF4-FFF2-40B4-BE49-F238E27FC236}">
                <a16:creationId xmlns:a16="http://schemas.microsoft.com/office/drawing/2014/main" xmlns="" id="{4B5483E7-D810-4D64-84F6-DE818087B9E1}"/>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6637531" y="2270546"/>
            <a:ext cx="3275559" cy="2282841"/>
          </a:xfrm>
          <a:prstGeom prst="rect">
            <a:avLst/>
          </a:prstGeom>
        </p:spPr>
      </p:pic>
      <p:pic>
        <p:nvPicPr>
          <p:cNvPr id="31" name="Picture 30">
            <a:extLst>
              <a:ext uri="{FF2B5EF4-FFF2-40B4-BE49-F238E27FC236}">
                <a16:creationId xmlns:a16="http://schemas.microsoft.com/office/drawing/2014/main" xmlns="" id="{00D7F77F-5BB5-487D-9C2B-E2392E78EDB6}"/>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197" y="2264255"/>
            <a:ext cx="3319383" cy="2294916"/>
          </a:xfrm>
          <a:prstGeom prst="rect">
            <a:avLst/>
          </a:prstGeom>
        </p:spPr>
      </p:pic>
      <p:pic>
        <p:nvPicPr>
          <p:cNvPr id="35" name="Picture 34">
            <a:extLst>
              <a:ext uri="{FF2B5EF4-FFF2-40B4-BE49-F238E27FC236}">
                <a16:creationId xmlns:a16="http://schemas.microsoft.com/office/drawing/2014/main" xmlns="" id="{69F19D18-5D6E-4B64-8E8E-F2778907F0B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241"/>
          <a:stretch/>
        </p:blipFill>
        <p:spPr>
          <a:xfrm>
            <a:off x="-3053" y="4579888"/>
            <a:ext cx="3320045" cy="2284996"/>
          </a:xfrm>
          <a:prstGeom prst="rect">
            <a:avLst/>
          </a:prstGeom>
        </p:spPr>
      </p:pic>
      <p:sp>
        <p:nvSpPr>
          <p:cNvPr id="30" name="Rectangle 29">
            <a:extLst>
              <a:ext uri="{FF2B5EF4-FFF2-40B4-BE49-F238E27FC236}">
                <a16:creationId xmlns:a16="http://schemas.microsoft.com/office/drawing/2014/main" xmlns="" id="{D7C65898-A7EF-4CAA-BD9B-60F8D740B9A3}"/>
              </a:ext>
            </a:extLst>
          </p:cNvPr>
          <p:cNvSpPr/>
          <p:nvPr/>
        </p:nvSpPr>
        <p:spPr>
          <a:xfrm>
            <a:off x="3288449" y="-12641"/>
            <a:ext cx="45719" cy="6888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2" name="Rectangle 31">
            <a:extLst>
              <a:ext uri="{FF2B5EF4-FFF2-40B4-BE49-F238E27FC236}">
                <a16:creationId xmlns:a16="http://schemas.microsoft.com/office/drawing/2014/main" xmlns="" id="{F019A683-8E8B-416E-AE7E-4FD1EB6A51C2}"/>
              </a:ext>
            </a:extLst>
          </p:cNvPr>
          <p:cNvSpPr/>
          <p:nvPr/>
        </p:nvSpPr>
        <p:spPr>
          <a:xfrm flipH="1">
            <a:off x="-9191" y="4557029"/>
            <a:ext cx="992228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3" name="Rectangle 32">
            <a:extLst>
              <a:ext uri="{FF2B5EF4-FFF2-40B4-BE49-F238E27FC236}">
                <a16:creationId xmlns:a16="http://schemas.microsoft.com/office/drawing/2014/main" xmlns="" id="{A3233A35-3D5D-4BEE-8D9C-71A4F7944BE4}"/>
              </a:ext>
            </a:extLst>
          </p:cNvPr>
          <p:cNvSpPr/>
          <p:nvPr/>
        </p:nvSpPr>
        <p:spPr>
          <a:xfrm flipH="1">
            <a:off x="-9193" y="2250405"/>
            <a:ext cx="992228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34" name="Rectangle 33">
            <a:extLst>
              <a:ext uri="{FF2B5EF4-FFF2-40B4-BE49-F238E27FC236}">
                <a16:creationId xmlns:a16="http://schemas.microsoft.com/office/drawing/2014/main" xmlns="" id="{8AEF1459-DCB9-402A-932A-84E430ECE1B9}"/>
              </a:ext>
            </a:extLst>
          </p:cNvPr>
          <p:cNvSpPr/>
          <p:nvPr/>
        </p:nvSpPr>
        <p:spPr>
          <a:xfrm>
            <a:off x="6609710" y="-12641"/>
            <a:ext cx="45719" cy="68884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Tree>
    <p:extLst>
      <p:ext uri="{BB962C8B-B14F-4D97-AF65-F5344CB8AC3E}">
        <p14:creationId xmlns:p14="http://schemas.microsoft.com/office/powerpoint/2010/main" val="3639267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 name="Picture 168">
            <a:extLst>
              <a:ext uri="{FF2B5EF4-FFF2-40B4-BE49-F238E27FC236}">
                <a16:creationId xmlns:a16="http://schemas.microsoft.com/office/drawing/2014/main" xmlns="" id="{80707416-D74F-476A-9575-6834D0EE77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16433" y="1705352"/>
            <a:ext cx="7115113" cy="3730066"/>
          </a:xfrm>
          <a:prstGeom prst="rect">
            <a:avLst/>
          </a:prstGeom>
        </p:spPr>
      </p:pic>
      <p:sp>
        <p:nvSpPr>
          <p:cNvPr id="114" name="Rectangle 113">
            <a:extLst>
              <a:ext uri="{FF2B5EF4-FFF2-40B4-BE49-F238E27FC236}">
                <a16:creationId xmlns:a16="http://schemas.microsoft.com/office/drawing/2014/main" xmlns="" id="{D489630C-E605-426E-8503-38B5F0F3E1DA}"/>
              </a:ext>
            </a:extLst>
          </p:cNvPr>
          <p:cNvSpPr/>
          <p:nvPr/>
        </p:nvSpPr>
        <p:spPr>
          <a:xfrm>
            <a:off x="7476616" y="1908800"/>
            <a:ext cx="1689782" cy="206112"/>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Ms Elizabeth</a:t>
            </a:r>
          </a:p>
          <a:p>
            <a:r>
              <a:rPr lang="en-GB" sz="900" dirty="0">
                <a:solidFill>
                  <a:srgbClr val="404040"/>
                </a:solidFill>
                <a:latin typeface="Gill Sans MT Std Medium" panose="020B0602020104020203" pitchFamily="34" charset="0"/>
              </a:rPr>
              <a:t>Anderson</a:t>
            </a:r>
          </a:p>
          <a:p>
            <a:endParaRPr lang="en-GB" sz="900" dirty="0">
              <a:solidFill>
                <a:srgbClr val="404040"/>
              </a:solidFill>
              <a:latin typeface="Gill Sans MT Std Medium" panose="020B0602020104020203" pitchFamily="34" charset="0"/>
            </a:endParaRPr>
          </a:p>
        </p:txBody>
      </p:sp>
      <p:sp>
        <p:nvSpPr>
          <p:cNvPr id="87" name="Freeform: Shape 86">
            <a:extLst>
              <a:ext uri="{FF2B5EF4-FFF2-40B4-BE49-F238E27FC236}">
                <a16:creationId xmlns:a16="http://schemas.microsoft.com/office/drawing/2014/main" xmlns="" id="{04288C44-AAF4-4AC9-85BA-1700CF11EC38}"/>
              </a:ext>
            </a:extLst>
          </p:cNvPr>
          <p:cNvSpPr/>
          <p:nvPr/>
        </p:nvSpPr>
        <p:spPr>
          <a:xfrm>
            <a:off x="1369520" y="4824622"/>
            <a:ext cx="1594087" cy="69771"/>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sp>
        <p:nvSpPr>
          <p:cNvPr id="110" name="Rectangle 109">
            <a:extLst>
              <a:ext uri="{FF2B5EF4-FFF2-40B4-BE49-F238E27FC236}">
                <a16:creationId xmlns:a16="http://schemas.microsoft.com/office/drawing/2014/main" xmlns="" id="{60AF6167-CE6D-4CE0-B533-3BD2FB04477F}"/>
              </a:ext>
            </a:extLst>
          </p:cNvPr>
          <p:cNvSpPr/>
          <p:nvPr/>
        </p:nvSpPr>
        <p:spPr>
          <a:xfrm>
            <a:off x="1265208" y="1873265"/>
            <a:ext cx="1028072" cy="193980"/>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Dr Reuben</a:t>
            </a:r>
          </a:p>
          <a:p>
            <a:pPr algn="r"/>
            <a:r>
              <a:rPr lang="en-GB" sz="900" dirty="0">
                <a:solidFill>
                  <a:srgbClr val="404040"/>
                </a:solidFill>
                <a:latin typeface="Gill Sans MT Std Medium" panose="020B0602020104020203" pitchFamily="34" charset="0"/>
              </a:rPr>
              <a:t>Abraham</a:t>
            </a:r>
          </a:p>
          <a:p>
            <a:pPr algn="r"/>
            <a:endParaRPr lang="en-GB" sz="900" dirty="0">
              <a:solidFill>
                <a:srgbClr val="404040"/>
              </a:solidFill>
              <a:latin typeface="Gill Sans MT Std Medium" panose="020B0602020104020203" pitchFamily="34" charset="0"/>
            </a:endParaRPr>
          </a:p>
        </p:txBody>
      </p:sp>
      <p:sp>
        <p:nvSpPr>
          <p:cNvPr id="111" name="Rectangle 110">
            <a:extLst>
              <a:ext uri="{FF2B5EF4-FFF2-40B4-BE49-F238E27FC236}">
                <a16:creationId xmlns:a16="http://schemas.microsoft.com/office/drawing/2014/main" xmlns="" id="{4D034E2E-069C-482D-91D9-0582C763D714}"/>
              </a:ext>
            </a:extLst>
          </p:cNvPr>
          <p:cNvSpPr/>
          <p:nvPr/>
        </p:nvSpPr>
        <p:spPr>
          <a:xfrm>
            <a:off x="1071620" y="2795283"/>
            <a:ext cx="868881" cy="138184"/>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Dr Christian</a:t>
            </a:r>
          </a:p>
          <a:p>
            <a:pPr algn="r"/>
            <a:r>
              <a:rPr lang="en-GB" sz="900" dirty="0">
                <a:solidFill>
                  <a:srgbClr val="404040"/>
                </a:solidFill>
                <a:latin typeface="Gill Sans MT Std Medium" panose="020B0602020104020203" pitchFamily="34" charset="0"/>
              </a:rPr>
              <a:t>Bason</a:t>
            </a:r>
          </a:p>
          <a:p>
            <a:pPr algn="r"/>
            <a:endParaRPr lang="en-GB" sz="900" dirty="0">
              <a:solidFill>
                <a:srgbClr val="404040"/>
              </a:solidFill>
              <a:latin typeface="Gill Sans MT Std Medium" panose="020B0602020104020203" pitchFamily="34" charset="0"/>
            </a:endParaRPr>
          </a:p>
        </p:txBody>
      </p:sp>
      <p:sp>
        <p:nvSpPr>
          <p:cNvPr id="112" name="Rectangle 111">
            <a:extLst>
              <a:ext uri="{FF2B5EF4-FFF2-40B4-BE49-F238E27FC236}">
                <a16:creationId xmlns:a16="http://schemas.microsoft.com/office/drawing/2014/main" xmlns="" id="{69E66CB4-2FF2-4509-91E8-7773A10A8B29}"/>
              </a:ext>
            </a:extLst>
          </p:cNvPr>
          <p:cNvSpPr/>
          <p:nvPr/>
        </p:nvSpPr>
        <p:spPr>
          <a:xfrm>
            <a:off x="679036" y="3600631"/>
            <a:ext cx="1336573" cy="228890"/>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Ms Nathalie</a:t>
            </a:r>
          </a:p>
          <a:p>
            <a:pPr algn="r"/>
            <a:r>
              <a:rPr lang="en-GB" sz="900" dirty="0" err="1">
                <a:solidFill>
                  <a:srgbClr val="404040"/>
                </a:solidFill>
                <a:latin typeface="Gill Sans MT Std Medium" panose="020B0602020104020203" pitchFamily="34" charset="0"/>
              </a:rPr>
              <a:t>Delapalme</a:t>
            </a:r>
            <a:endParaRPr lang="en-GB" sz="900" dirty="0">
              <a:solidFill>
                <a:srgbClr val="404040"/>
              </a:solidFill>
              <a:latin typeface="Gill Sans MT Std Medium" panose="020B0602020104020203" pitchFamily="34" charset="0"/>
            </a:endParaRPr>
          </a:p>
          <a:p>
            <a:pPr algn="r"/>
            <a:endParaRPr lang="en-GB" sz="900" dirty="0">
              <a:solidFill>
                <a:srgbClr val="404040"/>
              </a:solidFill>
              <a:latin typeface="Gill Sans MT Std Medium" panose="020B0602020104020203" pitchFamily="34" charset="0"/>
            </a:endParaRPr>
          </a:p>
        </p:txBody>
      </p:sp>
      <p:sp>
        <p:nvSpPr>
          <p:cNvPr id="113" name="Rectangle 112">
            <a:extLst>
              <a:ext uri="{FF2B5EF4-FFF2-40B4-BE49-F238E27FC236}">
                <a16:creationId xmlns:a16="http://schemas.microsoft.com/office/drawing/2014/main" xmlns="" id="{04A25481-CEBB-4AFC-9F90-28316A793724}"/>
              </a:ext>
            </a:extLst>
          </p:cNvPr>
          <p:cNvSpPr/>
          <p:nvPr/>
        </p:nvSpPr>
        <p:spPr>
          <a:xfrm>
            <a:off x="1255947" y="4463896"/>
            <a:ext cx="1232694" cy="296091"/>
          </a:xfrm>
          <a:prstGeom prst="rect">
            <a:avLst/>
          </a:prstGeom>
        </p:spPr>
        <p:txBody>
          <a:bodyPr wrap="square" anchor="t">
            <a:noAutofit/>
          </a:bodyPr>
          <a:lstStyle/>
          <a:p>
            <a:pPr algn="r"/>
            <a:r>
              <a:rPr lang="pt-BR" sz="900" dirty="0">
                <a:solidFill>
                  <a:srgbClr val="404040"/>
                </a:solidFill>
                <a:latin typeface="Gill Sans MT Std Medium" panose="020B0602020104020203" pitchFamily="34" charset="0"/>
              </a:rPr>
              <a:t>Dr Manuel Gerardo</a:t>
            </a:r>
          </a:p>
          <a:p>
            <a:pPr algn="r"/>
            <a:r>
              <a:rPr lang="pt-BR" sz="900" dirty="0">
                <a:solidFill>
                  <a:srgbClr val="404040"/>
                </a:solidFill>
                <a:latin typeface="Gill Sans MT Std Medium" panose="020B0602020104020203" pitchFamily="34" charset="0"/>
              </a:rPr>
              <a:t>Flores Romero</a:t>
            </a:r>
          </a:p>
          <a:p>
            <a:pPr algn="r"/>
            <a:endParaRPr lang="en-GB" sz="900" dirty="0">
              <a:solidFill>
                <a:srgbClr val="404040"/>
              </a:solidFill>
              <a:latin typeface="Gill Sans MT Std Medium" panose="020B0602020104020203" pitchFamily="34" charset="0"/>
            </a:endParaRPr>
          </a:p>
        </p:txBody>
      </p:sp>
      <p:sp>
        <p:nvSpPr>
          <p:cNvPr id="116" name="Rectangle 115">
            <a:extLst>
              <a:ext uri="{FF2B5EF4-FFF2-40B4-BE49-F238E27FC236}">
                <a16:creationId xmlns:a16="http://schemas.microsoft.com/office/drawing/2014/main" xmlns="" id="{65C489EB-1EA4-4F84-BF1A-92714F8634C9}"/>
              </a:ext>
            </a:extLst>
          </p:cNvPr>
          <p:cNvSpPr/>
          <p:nvPr/>
        </p:nvSpPr>
        <p:spPr>
          <a:xfrm>
            <a:off x="7947040" y="3809565"/>
            <a:ext cx="1262834" cy="234477"/>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Dr Ed </a:t>
            </a:r>
            <a:r>
              <a:rPr lang="en-GB" sz="900" dirty="0" err="1">
                <a:solidFill>
                  <a:srgbClr val="404040"/>
                </a:solidFill>
                <a:latin typeface="Gill Sans MT Std Medium" panose="020B0602020104020203" pitchFamily="34" charset="0"/>
              </a:rPr>
              <a:t>Olowo-Okere</a:t>
            </a:r>
            <a:endParaRPr lang="en-GB" sz="900" dirty="0">
              <a:solidFill>
                <a:srgbClr val="404040"/>
              </a:solidFill>
              <a:latin typeface="Gill Sans MT Std Medium" panose="020B0602020104020203" pitchFamily="34" charset="0"/>
            </a:endParaRPr>
          </a:p>
          <a:p>
            <a:endParaRPr lang="en-GB" sz="900" dirty="0">
              <a:solidFill>
                <a:srgbClr val="404040"/>
              </a:solidFill>
              <a:latin typeface="Gill Sans MT Std Medium" panose="020B0602020104020203" pitchFamily="34" charset="0"/>
            </a:endParaRPr>
          </a:p>
        </p:txBody>
      </p:sp>
      <p:sp>
        <p:nvSpPr>
          <p:cNvPr id="117" name="Rectangle 116">
            <a:extLst>
              <a:ext uri="{FF2B5EF4-FFF2-40B4-BE49-F238E27FC236}">
                <a16:creationId xmlns:a16="http://schemas.microsoft.com/office/drawing/2014/main" xmlns="" id="{208DD7D9-0997-462C-B438-A927FAC249A6}"/>
              </a:ext>
            </a:extLst>
          </p:cNvPr>
          <p:cNvSpPr/>
          <p:nvPr/>
        </p:nvSpPr>
        <p:spPr>
          <a:xfrm>
            <a:off x="7662164" y="4638226"/>
            <a:ext cx="1126025" cy="244595"/>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Prof Kent Weaver</a:t>
            </a:r>
          </a:p>
          <a:p>
            <a:endParaRPr lang="en-GB" sz="900" dirty="0">
              <a:solidFill>
                <a:srgbClr val="404040"/>
              </a:solidFill>
              <a:latin typeface="Gill Sans MT Std Medium" panose="020B0602020104020203" pitchFamily="34" charset="0"/>
            </a:endParaRPr>
          </a:p>
        </p:txBody>
      </p:sp>
      <p:sp>
        <p:nvSpPr>
          <p:cNvPr id="118" name="Freeform: Shape 117">
            <a:extLst>
              <a:ext uri="{FF2B5EF4-FFF2-40B4-BE49-F238E27FC236}">
                <a16:creationId xmlns:a16="http://schemas.microsoft.com/office/drawing/2014/main" xmlns="" id="{49892928-6391-40A4-B2CB-17F1FC4E70C8}"/>
              </a:ext>
            </a:extLst>
          </p:cNvPr>
          <p:cNvSpPr/>
          <p:nvPr/>
        </p:nvSpPr>
        <p:spPr>
          <a:xfrm>
            <a:off x="7241742" y="4871786"/>
            <a:ext cx="1292200" cy="41745"/>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grpSp>
        <p:nvGrpSpPr>
          <p:cNvPr id="133" name="Group 132">
            <a:extLst>
              <a:ext uri="{FF2B5EF4-FFF2-40B4-BE49-F238E27FC236}">
                <a16:creationId xmlns:a16="http://schemas.microsoft.com/office/drawing/2014/main" xmlns="" id="{C02AA92E-09F2-4583-A261-87B30FD2DEE9}"/>
              </a:ext>
            </a:extLst>
          </p:cNvPr>
          <p:cNvGrpSpPr/>
          <p:nvPr/>
        </p:nvGrpSpPr>
        <p:grpSpPr>
          <a:xfrm>
            <a:off x="2041850" y="0"/>
            <a:ext cx="6458117" cy="5879924"/>
            <a:chOff x="1434230" y="-1044119"/>
            <a:chExt cx="8512386" cy="7750276"/>
          </a:xfrm>
        </p:grpSpPr>
        <p:sp>
          <p:nvSpPr>
            <p:cNvPr id="134" name="Arc 133">
              <a:extLst>
                <a:ext uri="{FF2B5EF4-FFF2-40B4-BE49-F238E27FC236}">
                  <a16:creationId xmlns:a16="http://schemas.microsoft.com/office/drawing/2014/main" xmlns="" id="{1276CBB3-FDE9-49A8-9862-DCDD7D6C69DD}"/>
                </a:ext>
              </a:extLst>
            </p:cNvPr>
            <p:cNvSpPr/>
            <p:nvPr/>
          </p:nvSpPr>
          <p:spPr>
            <a:xfrm rot="8561854">
              <a:off x="1434230" y="-1044119"/>
              <a:ext cx="8512386" cy="7750276"/>
            </a:xfrm>
            <a:prstGeom prst="arc">
              <a:avLst>
                <a:gd name="adj1" fmla="val 15971075"/>
                <a:gd name="adj2" fmla="val 21245893"/>
              </a:avLst>
            </a:prstGeom>
            <a:ln>
              <a:solidFill>
                <a:srgbClr val="B395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059" dirty="0"/>
            </a:p>
          </p:txBody>
        </p:sp>
        <p:sp>
          <p:nvSpPr>
            <p:cNvPr id="135" name="Arc 134">
              <a:extLst>
                <a:ext uri="{FF2B5EF4-FFF2-40B4-BE49-F238E27FC236}">
                  <a16:creationId xmlns:a16="http://schemas.microsoft.com/office/drawing/2014/main" xmlns="" id="{800FB6BB-7BCB-4CAD-A8EC-64CCB3E8CFAF}"/>
                </a:ext>
              </a:extLst>
            </p:cNvPr>
            <p:cNvSpPr/>
            <p:nvPr/>
          </p:nvSpPr>
          <p:spPr>
            <a:xfrm rot="13562608">
              <a:off x="1721569" y="1704899"/>
              <a:ext cx="4371289" cy="4371289"/>
            </a:xfrm>
            <a:prstGeom prst="arc">
              <a:avLst>
                <a:gd name="adj1" fmla="val 16200000"/>
                <a:gd name="adj2" fmla="val 21245893"/>
              </a:avLst>
            </a:prstGeom>
            <a:ln>
              <a:solidFill>
                <a:srgbClr val="B395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059"/>
            </a:p>
          </p:txBody>
        </p:sp>
        <p:sp>
          <p:nvSpPr>
            <p:cNvPr id="136" name="Arc 135">
              <a:extLst>
                <a:ext uri="{FF2B5EF4-FFF2-40B4-BE49-F238E27FC236}">
                  <a16:creationId xmlns:a16="http://schemas.microsoft.com/office/drawing/2014/main" xmlns="" id="{5AF4D6C3-6C81-4071-87EE-94F4A72C4313}"/>
                </a:ext>
              </a:extLst>
            </p:cNvPr>
            <p:cNvSpPr/>
            <p:nvPr/>
          </p:nvSpPr>
          <p:spPr>
            <a:xfrm rot="2012800">
              <a:off x="4627561" y="1933458"/>
              <a:ext cx="4371289" cy="4371289"/>
            </a:xfrm>
            <a:prstGeom prst="arc">
              <a:avLst>
                <a:gd name="adj1" fmla="val 16536289"/>
                <a:gd name="adj2" fmla="val 156071"/>
              </a:avLst>
            </a:prstGeom>
            <a:ln>
              <a:solidFill>
                <a:srgbClr val="B395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SG" sz="1059" dirty="0"/>
            </a:p>
          </p:txBody>
        </p:sp>
      </p:grpSp>
      <p:sp>
        <p:nvSpPr>
          <p:cNvPr id="137" name="Freeform: Shape 136">
            <a:extLst>
              <a:ext uri="{FF2B5EF4-FFF2-40B4-BE49-F238E27FC236}">
                <a16:creationId xmlns:a16="http://schemas.microsoft.com/office/drawing/2014/main" xmlns="" id="{C1F46D41-9416-4DFC-9923-E63058A9F8F0}"/>
              </a:ext>
            </a:extLst>
          </p:cNvPr>
          <p:cNvSpPr/>
          <p:nvPr/>
        </p:nvSpPr>
        <p:spPr>
          <a:xfrm>
            <a:off x="7026040" y="2290115"/>
            <a:ext cx="1499320" cy="50887"/>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sp>
        <p:nvSpPr>
          <p:cNvPr id="138" name="Freeform: Shape 137">
            <a:extLst>
              <a:ext uri="{FF2B5EF4-FFF2-40B4-BE49-F238E27FC236}">
                <a16:creationId xmlns:a16="http://schemas.microsoft.com/office/drawing/2014/main" xmlns="" id="{32CF7000-1AAF-42A7-B3C3-29C0DBCF807B}"/>
              </a:ext>
            </a:extLst>
          </p:cNvPr>
          <p:cNvSpPr/>
          <p:nvPr/>
        </p:nvSpPr>
        <p:spPr>
          <a:xfrm flipV="1">
            <a:off x="7438550" y="3103130"/>
            <a:ext cx="1499803" cy="52440"/>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sp>
        <p:nvSpPr>
          <p:cNvPr id="139" name="Freeform: Shape 138">
            <a:extLst>
              <a:ext uri="{FF2B5EF4-FFF2-40B4-BE49-F238E27FC236}">
                <a16:creationId xmlns:a16="http://schemas.microsoft.com/office/drawing/2014/main" xmlns="" id="{C1F56FDE-1EE3-4414-ACD3-6CE544FB53B8}"/>
              </a:ext>
            </a:extLst>
          </p:cNvPr>
          <p:cNvSpPr/>
          <p:nvPr/>
        </p:nvSpPr>
        <p:spPr>
          <a:xfrm flipV="1">
            <a:off x="7438550" y="3999170"/>
            <a:ext cx="1360674" cy="47576"/>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grpSp>
        <p:nvGrpSpPr>
          <p:cNvPr id="7" name="Group 6">
            <a:extLst>
              <a:ext uri="{FF2B5EF4-FFF2-40B4-BE49-F238E27FC236}">
                <a16:creationId xmlns:a16="http://schemas.microsoft.com/office/drawing/2014/main" xmlns="" id="{80CED754-9A53-493F-8635-89C1C7F0BAE3}"/>
              </a:ext>
            </a:extLst>
          </p:cNvPr>
          <p:cNvGrpSpPr/>
          <p:nvPr/>
        </p:nvGrpSpPr>
        <p:grpSpPr>
          <a:xfrm>
            <a:off x="6794331" y="1968203"/>
            <a:ext cx="677944" cy="677601"/>
            <a:chOff x="8337204" y="2031573"/>
            <a:chExt cx="639444" cy="639120"/>
          </a:xfrm>
        </p:grpSpPr>
        <p:sp>
          <p:nvSpPr>
            <p:cNvPr id="101" name="Freeform: Shape 100">
              <a:extLst>
                <a:ext uri="{FF2B5EF4-FFF2-40B4-BE49-F238E27FC236}">
                  <a16:creationId xmlns:a16="http://schemas.microsoft.com/office/drawing/2014/main" xmlns="" id="{F0929AF8-F98E-4926-AC56-03CABE24A874}"/>
                </a:ext>
              </a:extLst>
            </p:cNvPr>
            <p:cNvSpPr/>
            <p:nvPr/>
          </p:nvSpPr>
          <p:spPr>
            <a:xfrm>
              <a:off x="8337204" y="2031573"/>
              <a:ext cx="639444" cy="639120"/>
            </a:xfrm>
            <a:custGeom>
              <a:avLst/>
              <a:gdLst>
                <a:gd name="connsiteX0" fmla="*/ 616649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9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9" y="308324"/>
                  </a:moveTo>
                  <a:cubicBezTo>
                    <a:pt x="616649" y="478607"/>
                    <a:pt x="478607" y="616648"/>
                    <a:pt x="308324" y="616648"/>
                  </a:cubicBezTo>
                  <a:cubicBezTo>
                    <a:pt x="138042" y="616648"/>
                    <a:pt x="0" y="478607"/>
                    <a:pt x="0" y="308324"/>
                  </a:cubicBezTo>
                  <a:cubicBezTo>
                    <a:pt x="0" y="138041"/>
                    <a:pt x="138042" y="0"/>
                    <a:pt x="308324" y="0"/>
                  </a:cubicBezTo>
                  <a:cubicBezTo>
                    <a:pt x="478607" y="0"/>
                    <a:pt x="616649" y="138041"/>
                    <a:pt x="616649"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3" name="Picture 102">
              <a:extLst>
                <a:ext uri="{FF2B5EF4-FFF2-40B4-BE49-F238E27FC236}">
                  <a16:creationId xmlns:a16="http://schemas.microsoft.com/office/drawing/2014/main" xmlns="" id="{7EB78224-A260-4AA4-9F83-C517E0D8FF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57698" y="2049504"/>
              <a:ext cx="603615" cy="603615"/>
            </a:xfrm>
            <a:prstGeom prst="ellipse">
              <a:avLst/>
            </a:prstGeom>
          </p:spPr>
        </p:pic>
      </p:grpSp>
      <p:grpSp>
        <p:nvGrpSpPr>
          <p:cNvPr id="11" name="Group 10">
            <a:extLst>
              <a:ext uri="{FF2B5EF4-FFF2-40B4-BE49-F238E27FC236}">
                <a16:creationId xmlns:a16="http://schemas.microsoft.com/office/drawing/2014/main" xmlns="" id="{ADF04067-14DD-4CE0-BF8B-2F6745089B4E}"/>
              </a:ext>
            </a:extLst>
          </p:cNvPr>
          <p:cNvGrpSpPr/>
          <p:nvPr/>
        </p:nvGrpSpPr>
        <p:grpSpPr>
          <a:xfrm>
            <a:off x="7285028" y="2836773"/>
            <a:ext cx="677944" cy="677601"/>
            <a:chOff x="8897736" y="3209958"/>
            <a:chExt cx="639444" cy="639120"/>
          </a:xfrm>
        </p:grpSpPr>
        <p:sp>
          <p:nvSpPr>
            <p:cNvPr id="100" name="Freeform: Shape 99">
              <a:extLst>
                <a:ext uri="{FF2B5EF4-FFF2-40B4-BE49-F238E27FC236}">
                  <a16:creationId xmlns:a16="http://schemas.microsoft.com/office/drawing/2014/main" xmlns="" id="{1BE30819-719D-4E3E-9407-6C1377600AC5}"/>
                </a:ext>
              </a:extLst>
            </p:cNvPr>
            <p:cNvSpPr/>
            <p:nvPr/>
          </p:nvSpPr>
          <p:spPr>
            <a:xfrm>
              <a:off x="8897736" y="3209958"/>
              <a:ext cx="639444" cy="639120"/>
            </a:xfrm>
            <a:custGeom>
              <a:avLst/>
              <a:gdLst>
                <a:gd name="connsiteX0" fmla="*/ 616648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8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8" y="308324"/>
                  </a:moveTo>
                  <a:cubicBezTo>
                    <a:pt x="616648" y="478607"/>
                    <a:pt x="478607" y="616648"/>
                    <a:pt x="308324" y="616648"/>
                  </a:cubicBezTo>
                  <a:cubicBezTo>
                    <a:pt x="138041" y="616648"/>
                    <a:pt x="0" y="478607"/>
                    <a:pt x="0" y="308324"/>
                  </a:cubicBezTo>
                  <a:cubicBezTo>
                    <a:pt x="0" y="138041"/>
                    <a:pt x="138041" y="0"/>
                    <a:pt x="308324" y="0"/>
                  </a:cubicBezTo>
                  <a:cubicBezTo>
                    <a:pt x="478607" y="0"/>
                    <a:pt x="616648" y="138041"/>
                    <a:pt x="616648"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5" name="Picture 104">
              <a:extLst>
                <a:ext uri="{FF2B5EF4-FFF2-40B4-BE49-F238E27FC236}">
                  <a16:creationId xmlns:a16="http://schemas.microsoft.com/office/drawing/2014/main" xmlns="" id="{0B31E168-DF65-4B63-8A2E-5ED83CB7745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911826" y="3229797"/>
              <a:ext cx="608989" cy="608989"/>
            </a:xfrm>
            <a:prstGeom prst="ellipse">
              <a:avLst/>
            </a:prstGeom>
          </p:spPr>
        </p:pic>
      </p:grpSp>
      <p:grpSp>
        <p:nvGrpSpPr>
          <p:cNvPr id="13" name="Group 12">
            <a:extLst>
              <a:ext uri="{FF2B5EF4-FFF2-40B4-BE49-F238E27FC236}">
                <a16:creationId xmlns:a16="http://schemas.microsoft.com/office/drawing/2014/main" xmlns="" id="{CDE3892D-6EC4-4038-B6C7-868EE5AF70D1}"/>
              </a:ext>
            </a:extLst>
          </p:cNvPr>
          <p:cNvGrpSpPr/>
          <p:nvPr/>
        </p:nvGrpSpPr>
        <p:grpSpPr>
          <a:xfrm>
            <a:off x="7285028" y="3723262"/>
            <a:ext cx="677944" cy="677601"/>
            <a:chOff x="6580642" y="4040975"/>
            <a:chExt cx="639444" cy="639120"/>
          </a:xfrm>
        </p:grpSpPr>
        <p:sp>
          <p:nvSpPr>
            <p:cNvPr id="99" name="Freeform: Shape 98">
              <a:extLst>
                <a:ext uri="{FF2B5EF4-FFF2-40B4-BE49-F238E27FC236}">
                  <a16:creationId xmlns:a16="http://schemas.microsoft.com/office/drawing/2014/main" xmlns="" id="{9C83AD84-C71E-4436-AB43-8B60594C0F87}"/>
                </a:ext>
              </a:extLst>
            </p:cNvPr>
            <p:cNvSpPr/>
            <p:nvPr/>
          </p:nvSpPr>
          <p:spPr>
            <a:xfrm>
              <a:off x="6580642" y="4040975"/>
              <a:ext cx="639444" cy="639120"/>
            </a:xfrm>
            <a:custGeom>
              <a:avLst/>
              <a:gdLst>
                <a:gd name="connsiteX0" fmla="*/ 616648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8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8" y="308324"/>
                  </a:moveTo>
                  <a:cubicBezTo>
                    <a:pt x="616648" y="478607"/>
                    <a:pt x="478607" y="616648"/>
                    <a:pt x="308324" y="616648"/>
                  </a:cubicBezTo>
                  <a:cubicBezTo>
                    <a:pt x="138042" y="616648"/>
                    <a:pt x="0" y="478607"/>
                    <a:pt x="0" y="308324"/>
                  </a:cubicBezTo>
                  <a:cubicBezTo>
                    <a:pt x="0" y="138041"/>
                    <a:pt x="138042" y="0"/>
                    <a:pt x="308324" y="0"/>
                  </a:cubicBezTo>
                  <a:cubicBezTo>
                    <a:pt x="478607" y="0"/>
                    <a:pt x="616648" y="138041"/>
                    <a:pt x="616648"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7" name="Picture 106">
              <a:extLst>
                <a:ext uri="{FF2B5EF4-FFF2-40B4-BE49-F238E27FC236}">
                  <a16:creationId xmlns:a16="http://schemas.microsoft.com/office/drawing/2014/main" xmlns="" id="{D83D1D02-320D-47A2-BFCF-5440544B1B9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603580" y="4055104"/>
              <a:ext cx="602764" cy="602764"/>
            </a:xfrm>
            <a:prstGeom prst="ellipse">
              <a:avLst/>
            </a:prstGeom>
          </p:spPr>
        </p:pic>
      </p:grpSp>
      <p:grpSp>
        <p:nvGrpSpPr>
          <p:cNvPr id="17" name="Group 16">
            <a:extLst>
              <a:ext uri="{FF2B5EF4-FFF2-40B4-BE49-F238E27FC236}">
                <a16:creationId xmlns:a16="http://schemas.microsoft.com/office/drawing/2014/main" xmlns="" id="{02373B59-1DB3-425F-A2AA-EDDC153548BF}"/>
              </a:ext>
            </a:extLst>
          </p:cNvPr>
          <p:cNvGrpSpPr/>
          <p:nvPr/>
        </p:nvGrpSpPr>
        <p:grpSpPr>
          <a:xfrm>
            <a:off x="6985275" y="4532785"/>
            <a:ext cx="677944" cy="677601"/>
            <a:chOff x="6022071" y="4848988"/>
            <a:chExt cx="639444" cy="639120"/>
          </a:xfrm>
        </p:grpSpPr>
        <p:sp>
          <p:nvSpPr>
            <p:cNvPr id="98" name="Freeform: Shape 97">
              <a:extLst>
                <a:ext uri="{FF2B5EF4-FFF2-40B4-BE49-F238E27FC236}">
                  <a16:creationId xmlns:a16="http://schemas.microsoft.com/office/drawing/2014/main" xmlns="" id="{3157B7EB-2F04-46B6-B317-0FE3D907E2F0}"/>
                </a:ext>
              </a:extLst>
            </p:cNvPr>
            <p:cNvSpPr/>
            <p:nvPr/>
          </p:nvSpPr>
          <p:spPr>
            <a:xfrm>
              <a:off x="6022071" y="4848988"/>
              <a:ext cx="639444" cy="639120"/>
            </a:xfrm>
            <a:custGeom>
              <a:avLst/>
              <a:gdLst>
                <a:gd name="connsiteX0" fmla="*/ 616649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9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9" y="308324"/>
                  </a:moveTo>
                  <a:cubicBezTo>
                    <a:pt x="616649" y="478607"/>
                    <a:pt x="478607" y="616648"/>
                    <a:pt x="308324" y="616648"/>
                  </a:cubicBezTo>
                  <a:cubicBezTo>
                    <a:pt x="138042" y="616648"/>
                    <a:pt x="0" y="478607"/>
                    <a:pt x="0" y="308324"/>
                  </a:cubicBezTo>
                  <a:cubicBezTo>
                    <a:pt x="0" y="138041"/>
                    <a:pt x="138042" y="0"/>
                    <a:pt x="308324" y="0"/>
                  </a:cubicBezTo>
                  <a:cubicBezTo>
                    <a:pt x="478607" y="0"/>
                    <a:pt x="616649" y="138042"/>
                    <a:pt x="616649"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9" name="Picture 108">
              <a:extLst>
                <a:ext uri="{FF2B5EF4-FFF2-40B4-BE49-F238E27FC236}">
                  <a16:creationId xmlns:a16="http://schemas.microsoft.com/office/drawing/2014/main" xmlns="" id="{6539BBB3-AA9B-4413-ADE1-D006FD753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42034" y="4867253"/>
              <a:ext cx="599518" cy="599518"/>
            </a:xfrm>
            <a:prstGeom prst="ellipse">
              <a:avLst/>
            </a:prstGeom>
          </p:spPr>
        </p:pic>
      </p:grpSp>
      <p:sp>
        <p:nvSpPr>
          <p:cNvPr id="140" name="Freeform: Shape 139">
            <a:extLst>
              <a:ext uri="{FF2B5EF4-FFF2-40B4-BE49-F238E27FC236}">
                <a16:creationId xmlns:a16="http://schemas.microsoft.com/office/drawing/2014/main" xmlns="" id="{7AE326BD-545F-4628-ADAE-6193B006CFD4}"/>
              </a:ext>
            </a:extLst>
          </p:cNvPr>
          <p:cNvSpPr/>
          <p:nvPr/>
        </p:nvSpPr>
        <p:spPr>
          <a:xfrm>
            <a:off x="1242312" y="2275580"/>
            <a:ext cx="1548549" cy="50027"/>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sp>
        <p:nvSpPr>
          <p:cNvPr id="94" name="Freeform: Shape 93">
            <a:extLst>
              <a:ext uri="{FF2B5EF4-FFF2-40B4-BE49-F238E27FC236}">
                <a16:creationId xmlns:a16="http://schemas.microsoft.com/office/drawing/2014/main" xmlns="" id="{2EC8C217-1089-46A8-ABFD-112EB8730F70}"/>
              </a:ext>
            </a:extLst>
          </p:cNvPr>
          <p:cNvSpPr/>
          <p:nvPr/>
        </p:nvSpPr>
        <p:spPr>
          <a:xfrm>
            <a:off x="2293280" y="1964204"/>
            <a:ext cx="685952" cy="685603"/>
          </a:xfrm>
          <a:custGeom>
            <a:avLst/>
            <a:gdLst>
              <a:gd name="connsiteX0" fmla="*/ 616648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8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8" y="308324"/>
                </a:moveTo>
                <a:cubicBezTo>
                  <a:pt x="616648" y="478607"/>
                  <a:pt x="478607" y="616648"/>
                  <a:pt x="308324" y="616648"/>
                </a:cubicBezTo>
                <a:cubicBezTo>
                  <a:pt x="138041" y="616648"/>
                  <a:pt x="0" y="478607"/>
                  <a:pt x="0" y="308324"/>
                </a:cubicBezTo>
                <a:cubicBezTo>
                  <a:pt x="0" y="138041"/>
                  <a:pt x="138042" y="0"/>
                  <a:pt x="308324" y="0"/>
                </a:cubicBezTo>
                <a:cubicBezTo>
                  <a:pt x="478607" y="0"/>
                  <a:pt x="616648" y="138041"/>
                  <a:pt x="616648"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grpSp>
        <p:nvGrpSpPr>
          <p:cNvPr id="34" name="Group 33">
            <a:extLst>
              <a:ext uri="{FF2B5EF4-FFF2-40B4-BE49-F238E27FC236}">
                <a16:creationId xmlns:a16="http://schemas.microsoft.com/office/drawing/2014/main" xmlns="" id="{0458C49E-3518-458C-9758-5ADB2CDC393F}"/>
              </a:ext>
            </a:extLst>
          </p:cNvPr>
          <p:cNvGrpSpPr/>
          <p:nvPr/>
        </p:nvGrpSpPr>
        <p:grpSpPr>
          <a:xfrm>
            <a:off x="2471941" y="4528785"/>
            <a:ext cx="685952" cy="685603"/>
            <a:chOff x="3826335" y="4888577"/>
            <a:chExt cx="639444" cy="639120"/>
          </a:xfrm>
        </p:grpSpPr>
        <p:sp>
          <p:nvSpPr>
            <p:cNvPr id="97" name="Freeform: Shape 96">
              <a:extLst>
                <a:ext uri="{FF2B5EF4-FFF2-40B4-BE49-F238E27FC236}">
                  <a16:creationId xmlns:a16="http://schemas.microsoft.com/office/drawing/2014/main" xmlns="" id="{52346B40-3A09-4213-A5E2-7F5C495F6521}"/>
                </a:ext>
              </a:extLst>
            </p:cNvPr>
            <p:cNvSpPr/>
            <p:nvPr/>
          </p:nvSpPr>
          <p:spPr>
            <a:xfrm>
              <a:off x="3826335" y="4888577"/>
              <a:ext cx="639444" cy="639120"/>
            </a:xfrm>
            <a:custGeom>
              <a:avLst/>
              <a:gdLst>
                <a:gd name="connsiteX0" fmla="*/ 616649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9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9" y="308324"/>
                  </a:moveTo>
                  <a:cubicBezTo>
                    <a:pt x="616649" y="478607"/>
                    <a:pt x="478607" y="616648"/>
                    <a:pt x="308324" y="616648"/>
                  </a:cubicBezTo>
                  <a:cubicBezTo>
                    <a:pt x="138041" y="616648"/>
                    <a:pt x="0" y="478607"/>
                    <a:pt x="0" y="308324"/>
                  </a:cubicBezTo>
                  <a:cubicBezTo>
                    <a:pt x="0" y="138041"/>
                    <a:pt x="138042" y="0"/>
                    <a:pt x="308324" y="0"/>
                  </a:cubicBezTo>
                  <a:cubicBezTo>
                    <a:pt x="478607" y="0"/>
                    <a:pt x="616649" y="138042"/>
                    <a:pt x="616649"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8" name="Picture 107">
              <a:extLst>
                <a:ext uri="{FF2B5EF4-FFF2-40B4-BE49-F238E27FC236}">
                  <a16:creationId xmlns:a16="http://schemas.microsoft.com/office/drawing/2014/main" xmlns="" id="{7D22624B-B0DD-429E-8E5A-8861A80D20D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51717" y="4910427"/>
              <a:ext cx="595420" cy="595420"/>
            </a:xfrm>
            <a:prstGeom prst="ellipse">
              <a:avLst/>
            </a:prstGeom>
          </p:spPr>
        </p:pic>
      </p:grpSp>
      <p:sp>
        <p:nvSpPr>
          <p:cNvPr id="141" name="Freeform: Shape 140">
            <a:extLst>
              <a:ext uri="{FF2B5EF4-FFF2-40B4-BE49-F238E27FC236}">
                <a16:creationId xmlns:a16="http://schemas.microsoft.com/office/drawing/2014/main" xmlns="" id="{13B9339A-7D28-446D-9065-0FA1DE817A7C}"/>
              </a:ext>
            </a:extLst>
          </p:cNvPr>
          <p:cNvSpPr/>
          <p:nvPr/>
        </p:nvSpPr>
        <p:spPr>
          <a:xfrm flipV="1">
            <a:off x="1237942" y="3114203"/>
            <a:ext cx="1232488" cy="43093"/>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grpSp>
        <p:nvGrpSpPr>
          <p:cNvPr id="31" name="Group 30">
            <a:extLst>
              <a:ext uri="{FF2B5EF4-FFF2-40B4-BE49-F238E27FC236}">
                <a16:creationId xmlns:a16="http://schemas.microsoft.com/office/drawing/2014/main" xmlns="" id="{A05B2ED4-CB17-4066-BB57-6256895277E2}"/>
              </a:ext>
            </a:extLst>
          </p:cNvPr>
          <p:cNvGrpSpPr/>
          <p:nvPr/>
        </p:nvGrpSpPr>
        <p:grpSpPr>
          <a:xfrm>
            <a:off x="1893681" y="2832773"/>
            <a:ext cx="685952" cy="685603"/>
            <a:chOff x="3113758" y="3203545"/>
            <a:chExt cx="639444" cy="639120"/>
          </a:xfrm>
        </p:grpSpPr>
        <p:sp>
          <p:nvSpPr>
            <p:cNvPr id="95" name="Freeform: Shape 94">
              <a:extLst>
                <a:ext uri="{FF2B5EF4-FFF2-40B4-BE49-F238E27FC236}">
                  <a16:creationId xmlns:a16="http://schemas.microsoft.com/office/drawing/2014/main" xmlns="" id="{EFD35F0E-32B8-4AD3-AB25-2E1A394B80E9}"/>
                </a:ext>
              </a:extLst>
            </p:cNvPr>
            <p:cNvSpPr/>
            <p:nvPr/>
          </p:nvSpPr>
          <p:spPr>
            <a:xfrm>
              <a:off x="3113758" y="3203545"/>
              <a:ext cx="639444" cy="639120"/>
            </a:xfrm>
            <a:custGeom>
              <a:avLst/>
              <a:gdLst>
                <a:gd name="connsiteX0" fmla="*/ 616649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9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9" y="308324"/>
                  </a:moveTo>
                  <a:cubicBezTo>
                    <a:pt x="616649" y="478607"/>
                    <a:pt x="478607" y="616648"/>
                    <a:pt x="308324" y="616648"/>
                  </a:cubicBezTo>
                  <a:cubicBezTo>
                    <a:pt x="138042" y="616648"/>
                    <a:pt x="0" y="478607"/>
                    <a:pt x="0" y="308324"/>
                  </a:cubicBezTo>
                  <a:cubicBezTo>
                    <a:pt x="0" y="138041"/>
                    <a:pt x="138042" y="0"/>
                    <a:pt x="308324" y="0"/>
                  </a:cubicBezTo>
                  <a:cubicBezTo>
                    <a:pt x="478607" y="0"/>
                    <a:pt x="616649" y="138041"/>
                    <a:pt x="616649"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4" name="Picture 103">
              <a:extLst>
                <a:ext uri="{FF2B5EF4-FFF2-40B4-BE49-F238E27FC236}">
                  <a16:creationId xmlns:a16="http://schemas.microsoft.com/office/drawing/2014/main" xmlns="" id="{325621BD-30C3-4432-9950-DA4BC61D3F7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131540" y="3222095"/>
              <a:ext cx="607794" cy="607794"/>
            </a:xfrm>
            <a:prstGeom prst="ellipse">
              <a:avLst/>
            </a:prstGeom>
          </p:spPr>
        </p:pic>
      </p:grpSp>
      <p:sp>
        <p:nvSpPr>
          <p:cNvPr id="142" name="Freeform: Shape 141">
            <a:extLst>
              <a:ext uri="{FF2B5EF4-FFF2-40B4-BE49-F238E27FC236}">
                <a16:creationId xmlns:a16="http://schemas.microsoft.com/office/drawing/2014/main" xmlns="" id="{869C7BD5-5CE3-4B4F-8B5A-87850647607E}"/>
              </a:ext>
            </a:extLst>
          </p:cNvPr>
          <p:cNvSpPr/>
          <p:nvPr/>
        </p:nvSpPr>
        <p:spPr>
          <a:xfrm flipV="1">
            <a:off x="1269241" y="3922521"/>
            <a:ext cx="1239965" cy="43355"/>
          </a:xfrm>
          <a:custGeom>
            <a:avLst/>
            <a:gdLst>
              <a:gd name="connsiteX0" fmla="*/ 2783681 w 2783681"/>
              <a:gd name="connsiteY0" fmla="*/ 0 h 643223"/>
              <a:gd name="connsiteX1" fmla="*/ 2011394 w 2783681"/>
              <a:gd name="connsiteY1" fmla="*/ 619697 h 643223"/>
              <a:gd name="connsiteX2" fmla="*/ 1944719 w 2783681"/>
              <a:gd name="connsiteY2" fmla="*/ 643223 h 643223"/>
              <a:gd name="connsiteX3" fmla="*/ 0 w 2783681"/>
              <a:gd name="connsiteY3" fmla="*/ 643223 h 643223"/>
              <a:gd name="connsiteX0" fmla="*/ 2011394 w 2011394"/>
              <a:gd name="connsiteY0" fmla="*/ 0 h 23526"/>
              <a:gd name="connsiteX1" fmla="*/ 1944719 w 2011394"/>
              <a:gd name="connsiteY1" fmla="*/ 23526 h 23526"/>
              <a:gd name="connsiteX2" fmla="*/ 0 w 2011394"/>
              <a:gd name="connsiteY2" fmla="*/ 23526 h 23526"/>
              <a:gd name="connsiteX0" fmla="*/ 1944719 w 1944719"/>
              <a:gd name="connsiteY0" fmla="*/ 0 h 0"/>
              <a:gd name="connsiteX1" fmla="*/ 0 w 1944719"/>
              <a:gd name="connsiteY1" fmla="*/ 0 h 0"/>
            </a:gdLst>
            <a:ahLst/>
            <a:cxnLst>
              <a:cxn ang="0">
                <a:pos x="connsiteX0" y="connsiteY0"/>
              </a:cxn>
              <a:cxn ang="0">
                <a:pos x="connsiteX1" y="connsiteY1"/>
              </a:cxn>
            </a:cxnLst>
            <a:rect l="l" t="t" r="r" b="b"/>
            <a:pathLst>
              <a:path w="1944719">
                <a:moveTo>
                  <a:pt x="1944719" y="0"/>
                </a:moveTo>
                <a:lnTo>
                  <a:pt x="0" y="0"/>
                </a:lnTo>
              </a:path>
            </a:pathLst>
          </a:custGeom>
          <a:noFill/>
          <a:ln w="9525" cap="flat">
            <a:solidFill>
              <a:srgbClr val="909090"/>
            </a:solidFill>
            <a:prstDash val="solid"/>
            <a:miter/>
          </a:ln>
        </p:spPr>
        <p:txBody>
          <a:bodyPr rtlCol="0" anchor="ctr"/>
          <a:lstStyle/>
          <a:p>
            <a:endParaRPr lang="en-US" sz="1059"/>
          </a:p>
        </p:txBody>
      </p:sp>
      <p:grpSp>
        <p:nvGrpSpPr>
          <p:cNvPr id="32" name="Group 31">
            <a:extLst>
              <a:ext uri="{FF2B5EF4-FFF2-40B4-BE49-F238E27FC236}">
                <a16:creationId xmlns:a16="http://schemas.microsoft.com/office/drawing/2014/main" xmlns="" id="{B8BF6919-C19A-40FB-B5C0-4949E39AB409}"/>
              </a:ext>
            </a:extLst>
          </p:cNvPr>
          <p:cNvGrpSpPr/>
          <p:nvPr/>
        </p:nvGrpSpPr>
        <p:grpSpPr>
          <a:xfrm>
            <a:off x="1991156" y="3719263"/>
            <a:ext cx="685952" cy="685603"/>
            <a:chOff x="3253684" y="4100611"/>
            <a:chExt cx="639444" cy="639120"/>
          </a:xfrm>
        </p:grpSpPr>
        <p:sp>
          <p:nvSpPr>
            <p:cNvPr id="96" name="Freeform: Shape 95">
              <a:extLst>
                <a:ext uri="{FF2B5EF4-FFF2-40B4-BE49-F238E27FC236}">
                  <a16:creationId xmlns:a16="http://schemas.microsoft.com/office/drawing/2014/main" xmlns="" id="{7F3F5D36-314C-4200-B7CA-7E34C83B4340}"/>
                </a:ext>
              </a:extLst>
            </p:cNvPr>
            <p:cNvSpPr/>
            <p:nvPr/>
          </p:nvSpPr>
          <p:spPr>
            <a:xfrm>
              <a:off x="3253684" y="4100611"/>
              <a:ext cx="639444" cy="639120"/>
            </a:xfrm>
            <a:custGeom>
              <a:avLst/>
              <a:gdLst>
                <a:gd name="connsiteX0" fmla="*/ 616649 w 616648"/>
                <a:gd name="connsiteY0" fmla="*/ 308324 h 616648"/>
                <a:gd name="connsiteX1" fmla="*/ 308324 w 616648"/>
                <a:gd name="connsiteY1" fmla="*/ 616648 h 616648"/>
                <a:gd name="connsiteX2" fmla="*/ 0 w 616648"/>
                <a:gd name="connsiteY2" fmla="*/ 308324 h 616648"/>
                <a:gd name="connsiteX3" fmla="*/ 308324 w 616648"/>
                <a:gd name="connsiteY3" fmla="*/ 0 h 616648"/>
                <a:gd name="connsiteX4" fmla="*/ 616649 w 616648"/>
                <a:gd name="connsiteY4" fmla="*/ 308324 h 616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648" h="616648">
                  <a:moveTo>
                    <a:pt x="616649" y="308324"/>
                  </a:moveTo>
                  <a:cubicBezTo>
                    <a:pt x="616649" y="478607"/>
                    <a:pt x="478607" y="616648"/>
                    <a:pt x="308324" y="616648"/>
                  </a:cubicBezTo>
                  <a:cubicBezTo>
                    <a:pt x="138042" y="616648"/>
                    <a:pt x="0" y="478607"/>
                    <a:pt x="0" y="308324"/>
                  </a:cubicBezTo>
                  <a:cubicBezTo>
                    <a:pt x="0" y="138041"/>
                    <a:pt x="138042" y="0"/>
                    <a:pt x="308324" y="0"/>
                  </a:cubicBezTo>
                  <a:cubicBezTo>
                    <a:pt x="478607" y="0"/>
                    <a:pt x="616649" y="138041"/>
                    <a:pt x="616649" y="308324"/>
                  </a:cubicBezTo>
                  <a:close/>
                </a:path>
              </a:pathLst>
            </a:custGeom>
            <a:solidFill>
              <a:srgbClr val="FFFFFF"/>
            </a:solidFill>
            <a:ln w="9525" cap="flat">
              <a:solidFill>
                <a:srgbClr val="966E32"/>
              </a:solidFill>
              <a:prstDash val="solid"/>
              <a:miter/>
            </a:ln>
          </p:spPr>
          <p:txBody>
            <a:bodyPr rtlCol="0" anchor="ctr"/>
            <a:lstStyle/>
            <a:p>
              <a:endParaRPr lang="en-US" sz="1059"/>
            </a:p>
          </p:txBody>
        </p:sp>
        <p:pic>
          <p:nvPicPr>
            <p:cNvPr id="106" name="Picture 105">
              <a:extLst>
                <a:ext uri="{FF2B5EF4-FFF2-40B4-BE49-F238E27FC236}">
                  <a16:creationId xmlns:a16="http://schemas.microsoft.com/office/drawing/2014/main" xmlns="" id="{75299729-D414-411D-91C8-ACF630038EE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274917" y="4124244"/>
              <a:ext cx="596135" cy="596135"/>
            </a:xfrm>
            <a:prstGeom prst="ellipse">
              <a:avLst/>
            </a:prstGeom>
          </p:spPr>
        </p:pic>
      </p:grpSp>
      <p:sp>
        <p:nvSpPr>
          <p:cNvPr id="174" name="Oval 173">
            <a:extLst>
              <a:ext uri="{FF2B5EF4-FFF2-40B4-BE49-F238E27FC236}">
                <a16:creationId xmlns:a16="http://schemas.microsoft.com/office/drawing/2014/main" xmlns="" id="{8A5FD2A2-D104-44E5-BE81-09B7E6B0C1DF}"/>
              </a:ext>
            </a:extLst>
          </p:cNvPr>
          <p:cNvSpPr/>
          <p:nvPr/>
        </p:nvSpPr>
        <p:spPr>
          <a:xfrm>
            <a:off x="4199844" y="1178155"/>
            <a:ext cx="1521984" cy="1521984"/>
          </a:xfrm>
          <a:prstGeom prst="ellipse">
            <a:avLst/>
          </a:prstGeom>
          <a:solidFill>
            <a:srgbClr val="966E32">
              <a:alpha val="78039"/>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75" name="Oval 174">
            <a:extLst>
              <a:ext uri="{FF2B5EF4-FFF2-40B4-BE49-F238E27FC236}">
                <a16:creationId xmlns:a16="http://schemas.microsoft.com/office/drawing/2014/main" xmlns="" id="{1712D158-A970-43A5-BD85-EE4BF28445E6}"/>
              </a:ext>
            </a:extLst>
          </p:cNvPr>
          <p:cNvSpPr/>
          <p:nvPr/>
        </p:nvSpPr>
        <p:spPr>
          <a:xfrm>
            <a:off x="4251060" y="1229370"/>
            <a:ext cx="1419556" cy="1419556"/>
          </a:xfrm>
          <a:prstGeom prst="ellipse">
            <a:avLst/>
          </a:prstGeom>
          <a:solidFill>
            <a:schemeClr val="bg1">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pic>
        <p:nvPicPr>
          <p:cNvPr id="176" name="Picture 175">
            <a:extLst>
              <a:ext uri="{FF2B5EF4-FFF2-40B4-BE49-F238E27FC236}">
                <a16:creationId xmlns:a16="http://schemas.microsoft.com/office/drawing/2014/main" xmlns="" id="{5A37DB04-85D9-4D57-A9AA-A668D9E8A18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51060" y="1222952"/>
            <a:ext cx="1419556" cy="1425973"/>
          </a:xfrm>
          <a:prstGeom prst="ellipse">
            <a:avLst/>
          </a:prstGeom>
        </p:spPr>
      </p:pic>
      <p:sp>
        <p:nvSpPr>
          <p:cNvPr id="177" name="Oval 34">
            <a:extLst>
              <a:ext uri="{FF2B5EF4-FFF2-40B4-BE49-F238E27FC236}">
                <a16:creationId xmlns:a16="http://schemas.microsoft.com/office/drawing/2014/main" xmlns="" id="{55546CBE-74E5-493E-8859-BC6E0D46CC6B}"/>
              </a:ext>
            </a:extLst>
          </p:cNvPr>
          <p:cNvSpPr/>
          <p:nvPr/>
        </p:nvSpPr>
        <p:spPr>
          <a:xfrm>
            <a:off x="4309837" y="2224787"/>
            <a:ext cx="1328302" cy="442227"/>
          </a:xfrm>
          <a:custGeom>
            <a:avLst/>
            <a:gdLst>
              <a:gd name="connsiteX0" fmla="*/ 0 w 1452328"/>
              <a:gd name="connsiteY0" fmla="*/ 462377 h 924753"/>
              <a:gd name="connsiteX1" fmla="*/ 726164 w 1452328"/>
              <a:gd name="connsiteY1" fmla="*/ 0 h 924753"/>
              <a:gd name="connsiteX2" fmla="*/ 1452328 w 1452328"/>
              <a:gd name="connsiteY2" fmla="*/ 462377 h 924753"/>
              <a:gd name="connsiteX3" fmla="*/ 726164 w 1452328"/>
              <a:gd name="connsiteY3" fmla="*/ 924754 h 924753"/>
              <a:gd name="connsiteX4" fmla="*/ 0 w 1452328"/>
              <a:gd name="connsiteY4" fmla="*/ 462377 h 924753"/>
              <a:gd name="connsiteX0" fmla="*/ 0 w 1472513"/>
              <a:gd name="connsiteY0" fmla="*/ 57798 h 520175"/>
              <a:gd name="connsiteX1" fmla="*/ 1452328 w 1472513"/>
              <a:gd name="connsiteY1" fmla="*/ 57798 h 520175"/>
              <a:gd name="connsiteX2" fmla="*/ 726164 w 1472513"/>
              <a:gd name="connsiteY2" fmla="*/ 520175 h 520175"/>
              <a:gd name="connsiteX3" fmla="*/ 0 w 1472513"/>
              <a:gd name="connsiteY3" fmla="*/ 57798 h 520175"/>
              <a:gd name="connsiteX0" fmla="*/ 0 w 1543494"/>
              <a:gd name="connsiteY0" fmla="*/ 34642 h 562061"/>
              <a:gd name="connsiteX1" fmla="*/ 1527391 w 1543494"/>
              <a:gd name="connsiteY1" fmla="*/ 99468 h 562061"/>
              <a:gd name="connsiteX2" fmla="*/ 801227 w 1543494"/>
              <a:gd name="connsiteY2" fmla="*/ 561845 h 562061"/>
              <a:gd name="connsiteX3" fmla="*/ 0 w 1543494"/>
              <a:gd name="connsiteY3" fmla="*/ 34642 h 562061"/>
              <a:gd name="connsiteX0" fmla="*/ 1 w 1543495"/>
              <a:gd name="connsiteY0" fmla="*/ 130 h 527549"/>
              <a:gd name="connsiteX1" fmla="*/ 1527392 w 1543495"/>
              <a:gd name="connsiteY1" fmla="*/ 64956 h 527549"/>
              <a:gd name="connsiteX2" fmla="*/ 801228 w 1543495"/>
              <a:gd name="connsiteY2" fmla="*/ 527333 h 527549"/>
              <a:gd name="connsiteX3" fmla="*/ 1 w 1543495"/>
              <a:gd name="connsiteY3" fmla="*/ 130 h 527549"/>
              <a:gd name="connsiteX0" fmla="*/ 16638 w 1613723"/>
              <a:gd name="connsiteY0" fmla="*/ 60095 h 587298"/>
              <a:gd name="connsiteX1" fmla="*/ 1598620 w 1613723"/>
              <a:gd name="connsiteY1" fmla="*/ 63507 h 587298"/>
              <a:gd name="connsiteX2" fmla="*/ 817865 w 1613723"/>
              <a:gd name="connsiteY2" fmla="*/ 587298 h 587298"/>
              <a:gd name="connsiteX3" fmla="*/ 16638 w 1613723"/>
              <a:gd name="connsiteY3" fmla="*/ 60095 h 587298"/>
              <a:gd name="connsiteX0" fmla="*/ 17601 w 1638169"/>
              <a:gd name="connsiteY0" fmla="*/ 89468 h 616763"/>
              <a:gd name="connsiteX1" fmla="*/ 1623466 w 1638169"/>
              <a:gd name="connsiteY1" fmla="*/ 45113 h 616763"/>
              <a:gd name="connsiteX2" fmla="*/ 818828 w 1638169"/>
              <a:gd name="connsiteY2" fmla="*/ 616671 h 616763"/>
              <a:gd name="connsiteX3" fmla="*/ 17601 w 1638169"/>
              <a:gd name="connsiteY3" fmla="*/ 89468 h 616763"/>
              <a:gd name="connsiteX0" fmla="*/ 17601 w 1638169"/>
              <a:gd name="connsiteY0" fmla="*/ 55033 h 582328"/>
              <a:gd name="connsiteX1" fmla="*/ 1623466 w 1638169"/>
              <a:gd name="connsiteY1" fmla="*/ 10678 h 582328"/>
              <a:gd name="connsiteX2" fmla="*/ 818828 w 1638169"/>
              <a:gd name="connsiteY2" fmla="*/ 582236 h 582328"/>
              <a:gd name="connsiteX3" fmla="*/ 17601 w 1638169"/>
              <a:gd name="connsiteY3" fmla="*/ 55033 h 582328"/>
              <a:gd name="connsiteX0" fmla="*/ 17601 w 1623500"/>
              <a:gd name="connsiteY0" fmla="*/ 55033 h 582328"/>
              <a:gd name="connsiteX1" fmla="*/ 1623466 w 1623500"/>
              <a:gd name="connsiteY1" fmla="*/ 10678 h 582328"/>
              <a:gd name="connsiteX2" fmla="*/ 818828 w 1623500"/>
              <a:gd name="connsiteY2" fmla="*/ 582236 h 582328"/>
              <a:gd name="connsiteX3" fmla="*/ 17601 w 1623500"/>
              <a:gd name="connsiteY3" fmla="*/ 55033 h 582328"/>
              <a:gd name="connsiteX0" fmla="*/ 173 w 1606072"/>
              <a:gd name="connsiteY0" fmla="*/ 44355 h 571635"/>
              <a:gd name="connsiteX1" fmla="*/ 1606038 w 1606072"/>
              <a:gd name="connsiteY1" fmla="*/ 0 h 571635"/>
              <a:gd name="connsiteX2" fmla="*/ 801400 w 1606072"/>
              <a:gd name="connsiteY2" fmla="*/ 571558 h 571635"/>
              <a:gd name="connsiteX3" fmla="*/ 173 w 1606072"/>
              <a:gd name="connsiteY3" fmla="*/ 44355 h 571635"/>
              <a:gd name="connsiteX0" fmla="*/ 537 w 1606515"/>
              <a:gd name="connsiteY0" fmla="*/ 44355 h 572361"/>
              <a:gd name="connsiteX1" fmla="*/ 1606402 w 1606515"/>
              <a:gd name="connsiteY1" fmla="*/ 0 h 572361"/>
              <a:gd name="connsiteX2" fmla="*/ 801764 w 1606515"/>
              <a:gd name="connsiteY2" fmla="*/ 571558 h 572361"/>
              <a:gd name="connsiteX3" fmla="*/ 537 w 1606515"/>
              <a:gd name="connsiteY3" fmla="*/ 44355 h 572361"/>
              <a:gd name="connsiteX0" fmla="*/ 16579 w 1597117"/>
              <a:gd name="connsiteY0" fmla="*/ 42647 h 569861"/>
              <a:gd name="connsiteX1" fmla="*/ 1597081 w 1597117"/>
              <a:gd name="connsiteY1" fmla="*/ 26867 h 569861"/>
              <a:gd name="connsiteX2" fmla="*/ 817806 w 1597117"/>
              <a:gd name="connsiteY2" fmla="*/ 569850 h 569861"/>
              <a:gd name="connsiteX3" fmla="*/ 16579 w 1597117"/>
              <a:gd name="connsiteY3" fmla="*/ 42647 h 569861"/>
              <a:gd name="connsiteX0" fmla="*/ 34 w 1580572"/>
              <a:gd name="connsiteY0" fmla="*/ 15780 h 542992"/>
              <a:gd name="connsiteX1" fmla="*/ 1580536 w 1580572"/>
              <a:gd name="connsiteY1" fmla="*/ 0 h 542992"/>
              <a:gd name="connsiteX2" fmla="*/ 801261 w 1580572"/>
              <a:gd name="connsiteY2" fmla="*/ 542983 h 542992"/>
              <a:gd name="connsiteX3" fmla="*/ 34 w 1580572"/>
              <a:gd name="connsiteY3" fmla="*/ 15780 h 542992"/>
              <a:gd name="connsiteX0" fmla="*/ 34 w 1580650"/>
              <a:gd name="connsiteY0" fmla="*/ 15780 h 543484"/>
              <a:gd name="connsiteX1" fmla="*/ 1580536 w 1580650"/>
              <a:gd name="connsiteY1" fmla="*/ 0 h 543484"/>
              <a:gd name="connsiteX2" fmla="*/ 801261 w 1580650"/>
              <a:gd name="connsiteY2" fmla="*/ 542983 h 543484"/>
              <a:gd name="connsiteX3" fmla="*/ 34 w 1580650"/>
              <a:gd name="connsiteY3" fmla="*/ 15780 h 543484"/>
            </a:gdLst>
            <a:ahLst/>
            <a:cxnLst>
              <a:cxn ang="0">
                <a:pos x="connsiteX0" y="connsiteY0"/>
              </a:cxn>
              <a:cxn ang="0">
                <a:pos x="connsiteX1" y="connsiteY1"/>
              </a:cxn>
              <a:cxn ang="0">
                <a:pos x="connsiteX2" y="connsiteY2"/>
              </a:cxn>
              <a:cxn ang="0">
                <a:pos x="connsiteX3" y="connsiteY3"/>
              </a:cxn>
            </a:cxnLst>
            <a:rect l="l" t="t" r="r" b="b"/>
            <a:pathLst>
              <a:path w="1580650" h="543484">
                <a:moveTo>
                  <a:pt x="34" y="15780"/>
                </a:moveTo>
                <a:cubicBezTo>
                  <a:pt x="-8429" y="13389"/>
                  <a:pt x="1578927" y="8235"/>
                  <a:pt x="1580536" y="0"/>
                </a:cubicBezTo>
                <a:cubicBezTo>
                  <a:pt x="1585557" y="2000"/>
                  <a:pt x="1426673" y="523685"/>
                  <a:pt x="801261" y="542983"/>
                </a:cubicBezTo>
                <a:cubicBezTo>
                  <a:pt x="175849" y="562281"/>
                  <a:pt x="8497" y="18171"/>
                  <a:pt x="34" y="15780"/>
                </a:cubicBezTo>
                <a:close/>
              </a:path>
            </a:pathLst>
          </a:custGeom>
          <a:solidFill>
            <a:srgbClr val="9A7A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78" name="TextBox 177">
            <a:extLst>
              <a:ext uri="{FF2B5EF4-FFF2-40B4-BE49-F238E27FC236}">
                <a16:creationId xmlns:a16="http://schemas.microsoft.com/office/drawing/2014/main" xmlns="" id="{CA44BEA1-1F4E-4CB0-B940-B2B193CC24AD}"/>
              </a:ext>
            </a:extLst>
          </p:cNvPr>
          <p:cNvSpPr txBox="1"/>
          <p:nvPr/>
        </p:nvSpPr>
        <p:spPr>
          <a:xfrm>
            <a:off x="4386820" y="2217823"/>
            <a:ext cx="1175399" cy="390030"/>
          </a:xfrm>
          <a:prstGeom prst="rect">
            <a:avLst/>
          </a:prstGeom>
          <a:noFill/>
        </p:spPr>
        <p:txBody>
          <a:bodyPr wrap="none" rtlCol="0">
            <a:spAutoFit/>
          </a:bodyPr>
          <a:lstStyle/>
          <a:p>
            <a:pPr algn="ctr"/>
            <a:r>
              <a:rPr lang="en-US" sz="848" dirty="0">
                <a:ln w="0"/>
                <a:solidFill>
                  <a:schemeClr val="bg1"/>
                </a:solidFill>
                <a:latin typeface="Futura PT Book" panose="020B0502020204020303" pitchFamily="34" charset="0"/>
              </a:rPr>
              <a:t>Government Leaders</a:t>
            </a:r>
          </a:p>
          <a:p>
            <a:pPr algn="ctr"/>
            <a:r>
              <a:rPr lang="en-US" sz="848" dirty="0">
                <a:ln w="0"/>
                <a:solidFill>
                  <a:schemeClr val="bg1"/>
                </a:solidFill>
                <a:latin typeface="Futura PT Book" panose="020B0502020204020303" pitchFamily="34" charset="0"/>
              </a:rPr>
              <a:t>and Practitioners</a:t>
            </a:r>
          </a:p>
        </p:txBody>
      </p:sp>
      <p:sp>
        <p:nvSpPr>
          <p:cNvPr id="179" name="Oval 178">
            <a:extLst>
              <a:ext uri="{FF2B5EF4-FFF2-40B4-BE49-F238E27FC236}">
                <a16:creationId xmlns:a16="http://schemas.microsoft.com/office/drawing/2014/main" xmlns="" id="{88350D3B-06BE-4DF3-BC64-59875F14B722}"/>
              </a:ext>
            </a:extLst>
          </p:cNvPr>
          <p:cNvSpPr/>
          <p:nvPr/>
        </p:nvSpPr>
        <p:spPr>
          <a:xfrm>
            <a:off x="2686110" y="2973394"/>
            <a:ext cx="1243388" cy="1243388"/>
          </a:xfrm>
          <a:prstGeom prst="ellipse">
            <a:avLst/>
          </a:prstGeom>
          <a:solidFill>
            <a:srgbClr val="CFB391">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0" name="Oval 179">
            <a:extLst>
              <a:ext uri="{FF2B5EF4-FFF2-40B4-BE49-F238E27FC236}">
                <a16:creationId xmlns:a16="http://schemas.microsoft.com/office/drawing/2014/main" xmlns="" id="{EEDAA5BB-C4E6-47E2-8573-713F6E1880B6}"/>
              </a:ext>
            </a:extLst>
          </p:cNvPr>
          <p:cNvSpPr/>
          <p:nvPr/>
        </p:nvSpPr>
        <p:spPr>
          <a:xfrm>
            <a:off x="2727951" y="3015232"/>
            <a:ext cx="1159709" cy="1159710"/>
          </a:xfrm>
          <a:prstGeom prst="ellipse">
            <a:avLst/>
          </a:prstGeom>
          <a:solidFill>
            <a:schemeClr val="bg1">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1" name="Oval 180">
            <a:extLst>
              <a:ext uri="{FF2B5EF4-FFF2-40B4-BE49-F238E27FC236}">
                <a16:creationId xmlns:a16="http://schemas.microsoft.com/office/drawing/2014/main" xmlns="" id="{B7E59020-0301-4214-B310-6B37846F4D4B}"/>
              </a:ext>
            </a:extLst>
          </p:cNvPr>
          <p:cNvSpPr/>
          <p:nvPr/>
        </p:nvSpPr>
        <p:spPr>
          <a:xfrm>
            <a:off x="6020693" y="2965844"/>
            <a:ext cx="1250938" cy="1250938"/>
          </a:xfrm>
          <a:prstGeom prst="ellipse">
            <a:avLst/>
          </a:prstGeom>
          <a:solidFill>
            <a:srgbClr val="CFB391">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2" name="Oval 181">
            <a:extLst>
              <a:ext uri="{FF2B5EF4-FFF2-40B4-BE49-F238E27FC236}">
                <a16:creationId xmlns:a16="http://schemas.microsoft.com/office/drawing/2014/main" xmlns="" id="{8C1B21C5-9AD1-4B89-8671-6716E7407283}"/>
              </a:ext>
            </a:extLst>
          </p:cNvPr>
          <p:cNvSpPr/>
          <p:nvPr/>
        </p:nvSpPr>
        <p:spPr>
          <a:xfrm>
            <a:off x="6062786" y="3007937"/>
            <a:ext cx="1166752" cy="1166752"/>
          </a:xfrm>
          <a:prstGeom prst="ellipse">
            <a:avLst/>
          </a:prstGeom>
          <a:solidFill>
            <a:schemeClr val="bg1">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pic>
        <p:nvPicPr>
          <p:cNvPr id="183" name="Picture 182">
            <a:extLst>
              <a:ext uri="{FF2B5EF4-FFF2-40B4-BE49-F238E27FC236}">
                <a16:creationId xmlns:a16="http://schemas.microsoft.com/office/drawing/2014/main" xmlns="" id="{9EB02780-F8D8-4AB5-82BA-50BC5C90B7FE}"/>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b="-45122"/>
          <a:stretch/>
        </p:blipFill>
        <p:spPr>
          <a:xfrm>
            <a:off x="6045770" y="3010041"/>
            <a:ext cx="1196461" cy="1166752"/>
          </a:xfrm>
          <a:prstGeom prst="ellipse">
            <a:avLst/>
          </a:prstGeom>
        </p:spPr>
      </p:pic>
      <p:sp>
        <p:nvSpPr>
          <p:cNvPr id="184" name="Oval 34">
            <a:extLst>
              <a:ext uri="{FF2B5EF4-FFF2-40B4-BE49-F238E27FC236}">
                <a16:creationId xmlns:a16="http://schemas.microsoft.com/office/drawing/2014/main" xmlns="" id="{75895E04-F2A8-4D72-BFCB-80F56F87C879}"/>
              </a:ext>
            </a:extLst>
          </p:cNvPr>
          <p:cNvSpPr/>
          <p:nvPr/>
        </p:nvSpPr>
        <p:spPr>
          <a:xfrm>
            <a:off x="6062786" y="3736671"/>
            <a:ext cx="1179445" cy="442227"/>
          </a:xfrm>
          <a:custGeom>
            <a:avLst/>
            <a:gdLst>
              <a:gd name="connsiteX0" fmla="*/ 0 w 1452328"/>
              <a:gd name="connsiteY0" fmla="*/ 462377 h 924753"/>
              <a:gd name="connsiteX1" fmla="*/ 726164 w 1452328"/>
              <a:gd name="connsiteY1" fmla="*/ 0 h 924753"/>
              <a:gd name="connsiteX2" fmla="*/ 1452328 w 1452328"/>
              <a:gd name="connsiteY2" fmla="*/ 462377 h 924753"/>
              <a:gd name="connsiteX3" fmla="*/ 726164 w 1452328"/>
              <a:gd name="connsiteY3" fmla="*/ 924754 h 924753"/>
              <a:gd name="connsiteX4" fmla="*/ 0 w 1452328"/>
              <a:gd name="connsiteY4" fmla="*/ 462377 h 924753"/>
              <a:gd name="connsiteX0" fmla="*/ 0 w 1472513"/>
              <a:gd name="connsiteY0" fmla="*/ 57798 h 520175"/>
              <a:gd name="connsiteX1" fmla="*/ 1452328 w 1472513"/>
              <a:gd name="connsiteY1" fmla="*/ 57798 h 520175"/>
              <a:gd name="connsiteX2" fmla="*/ 726164 w 1472513"/>
              <a:gd name="connsiteY2" fmla="*/ 520175 h 520175"/>
              <a:gd name="connsiteX3" fmla="*/ 0 w 1472513"/>
              <a:gd name="connsiteY3" fmla="*/ 57798 h 520175"/>
              <a:gd name="connsiteX0" fmla="*/ 0 w 1543494"/>
              <a:gd name="connsiteY0" fmla="*/ 34642 h 562061"/>
              <a:gd name="connsiteX1" fmla="*/ 1527391 w 1543494"/>
              <a:gd name="connsiteY1" fmla="*/ 99468 h 562061"/>
              <a:gd name="connsiteX2" fmla="*/ 801227 w 1543494"/>
              <a:gd name="connsiteY2" fmla="*/ 561845 h 562061"/>
              <a:gd name="connsiteX3" fmla="*/ 0 w 1543494"/>
              <a:gd name="connsiteY3" fmla="*/ 34642 h 562061"/>
              <a:gd name="connsiteX0" fmla="*/ 1 w 1543495"/>
              <a:gd name="connsiteY0" fmla="*/ 130 h 527549"/>
              <a:gd name="connsiteX1" fmla="*/ 1527392 w 1543495"/>
              <a:gd name="connsiteY1" fmla="*/ 64956 h 527549"/>
              <a:gd name="connsiteX2" fmla="*/ 801228 w 1543495"/>
              <a:gd name="connsiteY2" fmla="*/ 527333 h 527549"/>
              <a:gd name="connsiteX3" fmla="*/ 1 w 1543495"/>
              <a:gd name="connsiteY3" fmla="*/ 130 h 527549"/>
              <a:gd name="connsiteX0" fmla="*/ 16638 w 1613723"/>
              <a:gd name="connsiteY0" fmla="*/ 60095 h 587298"/>
              <a:gd name="connsiteX1" fmla="*/ 1598620 w 1613723"/>
              <a:gd name="connsiteY1" fmla="*/ 63507 h 587298"/>
              <a:gd name="connsiteX2" fmla="*/ 817865 w 1613723"/>
              <a:gd name="connsiteY2" fmla="*/ 587298 h 587298"/>
              <a:gd name="connsiteX3" fmla="*/ 16638 w 1613723"/>
              <a:gd name="connsiteY3" fmla="*/ 60095 h 587298"/>
              <a:gd name="connsiteX0" fmla="*/ 17601 w 1638169"/>
              <a:gd name="connsiteY0" fmla="*/ 89468 h 616763"/>
              <a:gd name="connsiteX1" fmla="*/ 1623466 w 1638169"/>
              <a:gd name="connsiteY1" fmla="*/ 45113 h 616763"/>
              <a:gd name="connsiteX2" fmla="*/ 818828 w 1638169"/>
              <a:gd name="connsiteY2" fmla="*/ 616671 h 616763"/>
              <a:gd name="connsiteX3" fmla="*/ 17601 w 1638169"/>
              <a:gd name="connsiteY3" fmla="*/ 89468 h 616763"/>
              <a:gd name="connsiteX0" fmla="*/ 17601 w 1638169"/>
              <a:gd name="connsiteY0" fmla="*/ 55033 h 582328"/>
              <a:gd name="connsiteX1" fmla="*/ 1623466 w 1638169"/>
              <a:gd name="connsiteY1" fmla="*/ 10678 h 582328"/>
              <a:gd name="connsiteX2" fmla="*/ 818828 w 1638169"/>
              <a:gd name="connsiteY2" fmla="*/ 582236 h 582328"/>
              <a:gd name="connsiteX3" fmla="*/ 17601 w 1638169"/>
              <a:gd name="connsiteY3" fmla="*/ 55033 h 582328"/>
              <a:gd name="connsiteX0" fmla="*/ 17601 w 1623500"/>
              <a:gd name="connsiteY0" fmla="*/ 55033 h 582328"/>
              <a:gd name="connsiteX1" fmla="*/ 1623466 w 1623500"/>
              <a:gd name="connsiteY1" fmla="*/ 10678 h 582328"/>
              <a:gd name="connsiteX2" fmla="*/ 818828 w 1623500"/>
              <a:gd name="connsiteY2" fmla="*/ 582236 h 582328"/>
              <a:gd name="connsiteX3" fmla="*/ 17601 w 1623500"/>
              <a:gd name="connsiteY3" fmla="*/ 55033 h 582328"/>
              <a:gd name="connsiteX0" fmla="*/ 173 w 1606072"/>
              <a:gd name="connsiteY0" fmla="*/ 44355 h 571635"/>
              <a:gd name="connsiteX1" fmla="*/ 1606038 w 1606072"/>
              <a:gd name="connsiteY1" fmla="*/ 0 h 571635"/>
              <a:gd name="connsiteX2" fmla="*/ 801400 w 1606072"/>
              <a:gd name="connsiteY2" fmla="*/ 571558 h 571635"/>
              <a:gd name="connsiteX3" fmla="*/ 173 w 1606072"/>
              <a:gd name="connsiteY3" fmla="*/ 44355 h 571635"/>
              <a:gd name="connsiteX0" fmla="*/ 537 w 1606515"/>
              <a:gd name="connsiteY0" fmla="*/ 44355 h 572361"/>
              <a:gd name="connsiteX1" fmla="*/ 1606402 w 1606515"/>
              <a:gd name="connsiteY1" fmla="*/ 0 h 572361"/>
              <a:gd name="connsiteX2" fmla="*/ 801764 w 1606515"/>
              <a:gd name="connsiteY2" fmla="*/ 571558 h 572361"/>
              <a:gd name="connsiteX3" fmla="*/ 537 w 1606515"/>
              <a:gd name="connsiteY3" fmla="*/ 44355 h 572361"/>
              <a:gd name="connsiteX0" fmla="*/ 16579 w 1597117"/>
              <a:gd name="connsiteY0" fmla="*/ 42647 h 569861"/>
              <a:gd name="connsiteX1" fmla="*/ 1597081 w 1597117"/>
              <a:gd name="connsiteY1" fmla="*/ 26867 h 569861"/>
              <a:gd name="connsiteX2" fmla="*/ 817806 w 1597117"/>
              <a:gd name="connsiteY2" fmla="*/ 569850 h 569861"/>
              <a:gd name="connsiteX3" fmla="*/ 16579 w 1597117"/>
              <a:gd name="connsiteY3" fmla="*/ 42647 h 569861"/>
              <a:gd name="connsiteX0" fmla="*/ 34 w 1580572"/>
              <a:gd name="connsiteY0" fmla="*/ 15780 h 542992"/>
              <a:gd name="connsiteX1" fmla="*/ 1580536 w 1580572"/>
              <a:gd name="connsiteY1" fmla="*/ 0 h 542992"/>
              <a:gd name="connsiteX2" fmla="*/ 801261 w 1580572"/>
              <a:gd name="connsiteY2" fmla="*/ 542983 h 542992"/>
              <a:gd name="connsiteX3" fmla="*/ 34 w 1580572"/>
              <a:gd name="connsiteY3" fmla="*/ 15780 h 542992"/>
              <a:gd name="connsiteX0" fmla="*/ 34 w 1580650"/>
              <a:gd name="connsiteY0" fmla="*/ 15780 h 543484"/>
              <a:gd name="connsiteX1" fmla="*/ 1580536 w 1580650"/>
              <a:gd name="connsiteY1" fmla="*/ 0 h 543484"/>
              <a:gd name="connsiteX2" fmla="*/ 801261 w 1580650"/>
              <a:gd name="connsiteY2" fmla="*/ 542983 h 543484"/>
              <a:gd name="connsiteX3" fmla="*/ 34 w 1580650"/>
              <a:gd name="connsiteY3" fmla="*/ 15780 h 543484"/>
            </a:gdLst>
            <a:ahLst/>
            <a:cxnLst>
              <a:cxn ang="0">
                <a:pos x="connsiteX0" y="connsiteY0"/>
              </a:cxn>
              <a:cxn ang="0">
                <a:pos x="connsiteX1" y="connsiteY1"/>
              </a:cxn>
              <a:cxn ang="0">
                <a:pos x="connsiteX2" y="connsiteY2"/>
              </a:cxn>
              <a:cxn ang="0">
                <a:pos x="connsiteX3" y="connsiteY3"/>
              </a:cxn>
            </a:cxnLst>
            <a:rect l="l" t="t" r="r" b="b"/>
            <a:pathLst>
              <a:path w="1580650" h="543484">
                <a:moveTo>
                  <a:pt x="34" y="15780"/>
                </a:moveTo>
                <a:cubicBezTo>
                  <a:pt x="-8429" y="13389"/>
                  <a:pt x="1578927" y="8235"/>
                  <a:pt x="1580536" y="0"/>
                </a:cubicBezTo>
                <a:cubicBezTo>
                  <a:pt x="1585557" y="2000"/>
                  <a:pt x="1426673" y="523685"/>
                  <a:pt x="801261" y="542983"/>
                </a:cubicBezTo>
                <a:cubicBezTo>
                  <a:pt x="175849" y="562281"/>
                  <a:pt x="8497" y="18171"/>
                  <a:pt x="34" y="15780"/>
                </a:cubicBezTo>
                <a:close/>
              </a:path>
            </a:pathLst>
          </a:custGeom>
          <a:solidFill>
            <a:srgbClr val="DAC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5" name="TextBox 184">
            <a:extLst>
              <a:ext uri="{FF2B5EF4-FFF2-40B4-BE49-F238E27FC236}">
                <a16:creationId xmlns:a16="http://schemas.microsoft.com/office/drawing/2014/main" xmlns="" id="{15766727-AB24-4A7B-80E1-B7AD37A24500}"/>
              </a:ext>
            </a:extLst>
          </p:cNvPr>
          <p:cNvSpPr txBox="1"/>
          <p:nvPr/>
        </p:nvSpPr>
        <p:spPr>
          <a:xfrm>
            <a:off x="6147983" y="3718070"/>
            <a:ext cx="1009053" cy="390030"/>
          </a:xfrm>
          <a:prstGeom prst="rect">
            <a:avLst/>
          </a:prstGeom>
          <a:noFill/>
        </p:spPr>
        <p:txBody>
          <a:bodyPr wrap="none" rtlCol="0">
            <a:spAutoFit/>
          </a:bodyPr>
          <a:lstStyle/>
          <a:p>
            <a:pPr algn="ctr"/>
            <a:r>
              <a:rPr lang="en-US" sz="848" dirty="0">
                <a:ln w="0"/>
                <a:solidFill>
                  <a:srgbClr val="966E32"/>
                </a:solidFill>
                <a:latin typeface="Futura PT Book" panose="020B0502020204020303" pitchFamily="34" charset="0"/>
              </a:rPr>
              <a:t>Researchers and </a:t>
            </a:r>
            <a:br>
              <a:rPr lang="en-US" sz="848" dirty="0">
                <a:ln w="0"/>
                <a:solidFill>
                  <a:srgbClr val="966E32"/>
                </a:solidFill>
                <a:latin typeface="Futura PT Book" panose="020B0502020204020303" pitchFamily="34" charset="0"/>
              </a:rPr>
            </a:br>
            <a:r>
              <a:rPr lang="en-US" sz="848" dirty="0">
                <a:ln w="0"/>
                <a:solidFill>
                  <a:srgbClr val="966E32"/>
                </a:solidFill>
                <a:latin typeface="Futura PT Book" panose="020B0502020204020303" pitchFamily="34" charset="0"/>
              </a:rPr>
              <a:t>Academics</a:t>
            </a:r>
          </a:p>
        </p:txBody>
      </p:sp>
      <p:sp>
        <p:nvSpPr>
          <p:cNvPr id="186" name="Oval 185">
            <a:extLst>
              <a:ext uri="{FF2B5EF4-FFF2-40B4-BE49-F238E27FC236}">
                <a16:creationId xmlns:a16="http://schemas.microsoft.com/office/drawing/2014/main" xmlns="" id="{403F1234-CC80-4C33-8CDA-5C3839758B09}"/>
              </a:ext>
            </a:extLst>
          </p:cNvPr>
          <p:cNvSpPr/>
          <p:nvPr/>
        </p:nvSpPr>
        <p:spPr>
          <a:xfrm>
            <a:off x="4339344" y="4631346"/>
            <a:ext cx="1331270" cy="1331270"/>
          </a:xfrm>
          <a:prstGeom prst="ellipse">
            <a:avLst/>
          </a:prstGeom>
          <a:solidFill>
            <a:srgbClr val="CFB391">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7" name="Oval 186">
            <a:extLst>
              <a:ext uri="{FF2B5EF4-FFF2-40B4-BE49-F238E27FC236}">
                <a16:creationId xmlns:a16="http://schemas.microsoft.com/office/drawing/2014/main" xmlns="" id="{F86DB23C-0AA1-444D-9A04-51F0482F32D3}"/>
              </a:ext>
            </a:extLst>
          </p:cNvPr>
          <p:cNvSpPr/>
          <p:nvPr/>
        </p:nvSpPr>
        <p:spPr>
          <a:xfrm>
            <a:off x="4384143" y="4676143"/>
            <a:ext cx="1241677" cy="1241677"/>
          </a:xfrm>
          <a:prstGeom prst="ellipse">
            <a:avLst/>
          </a:prstGeom>
          <a:solidFill>
            <a:schemeClr val="bg1">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88" name="Oval 187">
            <a:extLst>
              <a:ext uri="{FF2B5EF4-FFF2-40B4-BE49-F238E27FC236}">
                <a16:creationId xmlns:a16="http://schemas.microsoft.com/office/drawing/2014/main" xmlns="" id="{2958C19A-3D5E-49C3-ADFB-0F70B24C63A9}"/>
              </a:ext>
            </a:extLst>
          </p:cNvPr>
          <p:cNvSpPr/>
          <p:nvPr/>
        </p:nvSpPr>
        <p:spPr>
          <a:xfrm>
            <a:off x="4427843" y="3027755"/>
            <a:ext cx="1086293" cy="10786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9" dirty="0"/>
              <a:t>v</a:t>
            </a:r>
            <a:endParaRPr lang="en-SG" sz="1059" dirty="0"/>
          </a:p>
        </p:txBody>
      </p:sp>
      <p:pic>
        <p:nvPicPr>
          <p:cNvPr id="189" name="Picture 188">
            <a:extLst>
              <a:ext uri="{FF2B5EF4-FFF2-40B4-BE49-F238E27FC236}">
                <a16:creationId xmlns:a16="http://schemas.microsoft.com/office/drawing/2014/main" xmlns="" id="{D2EFE22F-32AB-4F82-98DE-A6764EE1B56A}"/>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b="-34052"/>
          <a:stretch/>
        </p:blipFill>
        <p:spPr>
          <a:xfrm>
            <a:off x="4384142" y="4676142"/>
            <a:ext cx="1241676" cy="1247818"/>
          </a:xfrm>
          <a:prstGeom prst="ellipse">
            <a:avLst/>
          </a:prstGeom>
        </p:spPr>
      </p:pic>
      <p:sp>
        <p:nvSpPr>
          <p:cNvPr id="191" name="Oval 34">
            <a:extLst>
              <a:ext uri="{FF2B5EF4-FFF2-40B4-BE49-F238E27FC236}">
                <a16:creationId xmlns:a16="http://schemas.microsoft.com/office/drawing/2014/main" xmlns="" id="{C86BC926-C12A-4031-977F-A61B1BA04F9D}"/>
              </a:ext>
            </a:extLst>
          </p:cNvPr>
          <p:cNvSpPr/>
          <p:nvPr/>
        </p:nvSpPr>
        <p:spPr>
          <a:xfrm>
            <a:off x="4418170" y="5495712"/>
            <a:ext cx="1179445" cy="442227"/>
          </a:xfrm>
          <a:custGeom>
            <a:avLst/>
            <a:gdLst>
              <a:gd name="connsiteX0" fmla="*/ 0 w 1452328"/>
              <a:gd name="connsiteY0" fmla="*/ 462377 h 924753"/>
              <a:gd name="connsiteX1" fmla="*/ 726164 w 1452328"/>
              <a:gd name="connsiteY1" fmla="*/ 0 h 924753"/>
              <a:gd name="connsiteX2" fmla="*/ 1452328 w 1452328"/>
              <a:gd name="connsiteY2" fmla="*/ 462377 h 924753"/>
              <a:gd name="connsiteX3" fmla="*/ 726164 w 1452328"/>
              <a:gd name="connsiteY3" fmla="*/ 924754 h 924753"/>
              <a:gd name="connsiteX4" fmla="*/ 0 w 1452328"/>
              <a:gd name="connsiteY4" fmla="*/ 462377 h 924753"/>
              <a:gd name="connsiteX0" fmla="*/ 0 w 1472513"/>
              <a:gd name="connsiteY0" fmla="*/ 57798 h 520175"/>
              <a:gd name="connsiteX1" fmla="*/ 1452328 w 1472513"/>
              <a:gd name="connsiteY1" fmla="*/ 57798 h 520175"/>
              <a:gd name="connsiteX2" fmla="*/ 726164 w 1472513"/>
              <a:gd name="connsiteY2" fmla="*/ 520175 h 520175"/>
              <a:gd name="connsiteX3" fmla="*/ 0 w 1472513"/>
              <a:gd name="connsiteY3" fmla="*/ 57798 h 520175"/>
              <a:gd name="connsiteX0" fmla="*/ 0 w 1543494"/>
              <a:gd name="connsiteY0" fmla="*/ 34642 h 562061"/>
              <a:gd name="connsiteX1" fmla="*/ 1527391 w 1543494"/>
              <a:gd name="connsiteY1" fmla="*/ 99468 h 562061"/>
              <a:gd name="connsiteX2" fmla="*/ 801227 w 1543494"/>
              <a:gd name="connsiteY2" fmla="*/ 561845 h 562061"/>
              <a:gd name="connsiteX3" fmla="*/ 0 w 1543494"/>
              <a:gd name="connsiteY3" fmla="*/ 34642 h 562061"/>
              <a:gd name="connsiteX0" fmla="*/ 1 w 1543495"/>
              <a:gd name="connsiteY0" fmla="*/ 130 h 527549"/>
              <a:gd name="connsiteX1" fmla="*/ 1527392 w 1543495"/>
              <a:gd name="connsiteY1" fmla="*/ 64956 h 527549"/>
              <a:gd name="connsiteX2" fmla="*/ 801228 w 1543495"/>
              <a:gd name="connsiteY2" fmla="*/ 527333 h 527549"/>
              <a:gd name="connsiteX3" fmla="*/ 1 w 1543495"/>
              <a:gd name="connsiteY3" fmla="*/ 130 h 527549"/>
              <a:gd name="connsiteX0" fmla="*/ 16638 w 1613723"/>
              <a:gd name="connsiteY0" fmla="*/ 60095 h 587298"/>
              <a:gd name="connsiteX1" fmla="*/ 1598620 w 1613723"/>
              <a:gd name="connsiteY1" fmla="*/ 63507 h 587298"/>
              <a:gd name="connsiteX2" fmla="*/ 817865 w 1613723"/>
              <a:gd name="connsiteY2" fmla="*/ 587298 h 587298"/>
              <a:gd name="connsiteX3" fmla="*/ 16638 w 1613723"/>
              <a:gd name="connsiteY3" fmla="*/ 60095 h 587298"/>
              <a:gd name="connsiteX0" fmla="*/ 17601 w 1638169"/>
              <a:gd name="connsiteY0" fmla="*/ 89468 h 616763"/>
              <a:gd name="connsiteX1" fmla="*/ 1623466 w 1638169"/>
              <a:gd name="connsiteY1" fmla="*/ 45113 h 616763"/>
              <a:gd name="connsiteX2" fmla="*/ 818828 w 1638169"/>
              <a:gd name="connsiteY2" fmla="*/ 616671 h 616763"/>
              <a:gd name="connsiteX3" fmla="*/ 17601 w 1638169"/>
              <a:gd name="connsiteY3" fmla="*/ 89468 h 616763"/>
              <a:gd name="connsiteX0" fmla="*/ 17601 w 1638169"/>
              <a:gd name="connsiteY0" fmla="*/ 55033 h 582328"/>
              <a:gd name="connsiteX1" fmla="*/ 1623466 w 1638169"/>
              <a:gd name="connsiteY1" fmla="*/ 10678 h 582328"/>
              <a:gd name="connsiteX2" fmla="*/ 818828 w 1638169"/>
              <a:gd name="connsiteY2" fmla="*/ 582236 h 582328"/>
              <a:gd name="connsiteX3" fmla="*/ 17601 w 1638169"/>
              <a:gd name="connsiteY3" fmla="*/ 55033 h 582328"/>
              <a:gd name="connsiteX0" fmla="*/ 17601 w 1623500"/>
              <a:gd name="connsiteY0" fmla="*/ 55033 h 582328"/>
              <a:gd name="connsiteX1" fmla="*/ 1623466 w 1623500"/>
              <a:gd name="connsiteY1" fmla="*/ 10678 h 582328"/>
              <a:gd name="connsiteX2" fmla="*/ 818828 w 1623500"/>
              <a:gd name="connsiteY2" fmla="*/ 582236 h 582328"/>
              <a:gd name="connsiteX3" fmla="*/ 17601 w 1623500"/>
              <a:gd name="connsiteY3" fmla="*/ 55033 h 582328"/>
              <a:gd name="connsiteX0" fmla="*/ 173 w 1606072"/>
              <a:gd name="connsiteY0" fmla="*/ 44355 h 571635"/>
              <a:gd name="connsiteX1" fmla="*/ 1606038 w 1606072"/>
              <a:gd name="connsiteY1" fmla="*/ 0 h 571635"/>
              <a:gd name="connsiteX2" fmla="*/ 801400 w 1606072"/>
              <a:gd name="connsiteY2" fmla="*/ 571558 h 571635"/>
              <a:gd name="connsiteX3" fmla="*/ 173 w 1606072"/>
              <a:gd name="connsiteY3" fmla="*/ 44355 h 571635"/>
              <a:gd name="connsiteX0" fmla="*/ 537 w 1606515"/>
              <a:gd name="connsiteY0" fmla="*/ 44355 h 572361"/>
              <a:gd name="connsiteX1" fmla="*/ 1606402 w 1606515"/>
              <a:gd name="connsiteY1" fmla="*/ 0 h 572361"/>
              <a:gd name="connsiteX2" fmla="*/ 801764 w 1606515"/>
              <a:gd name="connsiteY2" fmla="*/ 571558 h 572361"/>
              <a:gd name="connsiteX3" fmla="*/ 537 w 1606515"/>
              <a:gd name="connsiteY3" fmla="*/ 44355 h 572361"/>
              <a:gd name="connsiteX0" fmla="*/ 16579 w 1597117"/>
              <a:gd name="connsiteY0" fmla="*/ 42647 h 569861"/>
              <a:gd name="connsiteX1" fmla="*/ 1597081 w 1597117"/>
              <a:gd name="connsiteY1" fmla="*/ 26867 h 569861"/>
              <a:gd name="connsiteX2" fmla="*/ 817806 w 1597117"/>
              <a:gd name="connsiteY2" fmla="*/ 569850 h 569861"/>
              <a:gd name="connsiteX3" fmla="*/ 16579 w 1597117"/>
              <a:gd name="connsiteY3" fmla="*/ 42647 h 569861"/>
              <a:gd name="connsiteX0" fmla="*/ 34 w 1580572"/>
              <a:gd name="connsiteY0" fmla="*/ 15780 h 542992"/>
              <a:gd name="connsiteX1" fmla="*/ 1580536 w 1580572"/>
              <a:gd name="connsiteY1" fmla="*/ 0 h 542992"/>
              <a:gd name="connsiteX2" fmla="*/ 801261 w 1580572"/>
              <a:gd name="connsiteY2" fmla="*/ 542983 h 542992"/>
              <a:gd name="connsiteX3" fmla="*/ 34 w 1580572"/>
              <a:gd name="connsiteY3" fmla="*/ 15780 h 542992"/>
              <a:gd name="connsiteX0" fmla="*/ 34 w 1580650"/>
              <a:gd name="connsiteY0" fmla="*/ 15780 h 543484"/>
              <a:gd name="connsiteX1" fmla="*/ 1580536 w 1580650"/>
              <a:gd name="connsiteY1" fmla="*/ 0 h 543484"/>
              <a:gd name="connsiteX2" fmla="*/ 801261 w 1580650"/>
              <a:gd name="connsiteY2" fmla="*/ 542983 h 543484"/>
              <a:gd name="connsiteX3" fmla="*/ 34 w 1580650"/>
              <a:gd name="connsiteY3" fmla="*/ 15780 h 543484"/>
            </a:gdLst>
            <a:ahLst/>
            <a:cxnLst>
              <a:cxn ang="0">
                <a:pos x="connsiteX0" y="connsiteY0"/>
              </a:cxn>
              <a:cxn ang="0">
                <a:pos x="connsiteX1" y="connsiteY1"/>
              </a:cxn>
              <a:cxn ang="0">
                <a:pos x="connsiteX2" y="connsiteY2"/>
              </a:cxn>
              <a:cxn ang="0">
                <a:pos x="connsiteX3" y="connsiteY3"/>
              </a:cxn>
            </a:cxnLst>
            <a:rect l="l" t="t" r="r" b="b"/>
            <a:pathLst>
              <a:path w="1580650" h="543484">
                <a:moveTo>
                  <a:pt x="34" y="15780"/>
                </a:moveTo>
                <a:cubicBezTo>
                  <a:pt x="-8429" y="13389"/>
                  <a:pt x="1578927" y="8235"/>
                  <a:pt x="1580536" y="0"/>
                </a:cubicBezTo>
                <a:cubicBezTo>
                  <a:pt x="1585557" y="2000"/>
                  <a:pt x="1426673" y="523685"/>
                  <a:pt x="801261" y="542983"/>
                </a:cubicBezTo>
                <a:cubicBezTo>
                  <a:pt x="175849" y="562281"/>
                  <a:pt x="8497" y="18171"/>
                  <a:pt x="34" y="15780"/>
                </a:cubicBezTo>
                <a:close/>
              </a:path>
            </a:pathLst>
          </a:custGeom>
          <a:solidFill>
            <a:srgbClr val="DAC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92" name="TextBox 191">
            <a:extLst>
              <a:ext uri="{FF2B5EF4-FFF2-40B4-BE49-F238E27FC236}">
                <a16:creationId xmlns:a16="http://schemas.microsoft.com/office/drawing/2014/main" xmlns="" id="{65D08815-047C-438B-8322-22683ED74109}"/>
              </a:ext>
            </a:extLst>
          </p:cNvPr>
          <p:cNvSpPr txBox="1"/>
          <p:nvPr/>
        </p:nvSpPr>
        <p:spPr>
          <a:xfrm>
            <a:off x="4547618" y="5502114"/>
            <a:ext cx="963042" cy="402630"/>
          </a:xfrm>
          <a:prstGeom prst="rect">
            <a:avLst/>
          </a:prstGeom>
          <a:noFill/>
        </p:spPr>
        <p:txBody>
          <a:bodyPr wrap="none" rtlCol="0">
            <a:spAutoFit/>
          </a:bodyPr>
          <a:lstStyle/>
          <a:p>
            <a:pPr algn="ctr"/>
            <a:r>
              <a:rPr lang="en-US" sz="885" dirty="0">
                <a:ln w="0"/>
                <a:solidFill>
                  <a:srgbClr val="966E32"/>
                </a:solidFill>
                <a:latin typeface="Futura PT Book" panose="020B0502020204020303" pitchFamily="34" charset="0"/>
              </a:rPr>
              <a:t>CGGI Advisory</a:t>
            </a:r>
          </a:p>
          <a:p>
            <a:pPr algn="ctr"/>
            <a:r>
              <a:rPr lang="en-US" sz="885" dirty="0">
                <a:ln w="0"/>
                <a:solidFill>
                  <a:srgbClr val="966E32"/>
                </a:solidFill>
                <a:latin typeface="Futura PT Book" panose="020B0502020204020303" pitchFamily="34" charset="0"/>
              </a:rPr>
              <a:t>Panel</a:t>
            </a:r>
          </a:p>
        </p:txBody>
      </p:sp>
      <p:pic>
        <p:nvPicPr>
          <p:cNvPr id="193" name="Picture 192">
            <a:extLst>
              <a:ext uri="{FF2B5EF4-FFF2-40B4-BE49-F238E27FC236}">
                <a16:creationId xmlns:a16="http://schemas.microsoft.com/office/drawing/2014/main" xmlns="" id="{54E64DF5-078F-4ABB-BF8F-D4CF87222ECC}"/>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b="-18201"/>
          <a:stretch/>
        </p:blipFill>
        <p:spPr>
          <a:xfrm>
            <a:off x="2719293" y="3015231"/>
            <a:ext cx="1184337" cy="1174417"/>
          </a:xfrm>
          <a:prstGeom prst="ellipse">
            <a:avLst/>
          </a:prstGeom>
        </p:spPr>
      </p:pic>
      <p:sp>
        <p:nvSpPr>
          <p:cNvPr id="194" name="Oval 34">
            <a:extLst>
              <a:ext uri="{FF2B5EF4-FFF2-40B4-BE49-F238E27FC236}">
                <a16:creationId xmlns:a16="http://schemas.microsoft.com/office/drawing/2014/main" xmlns="" id="{565470F5-9189-4B49-806E-D78954C2590C}"/>
              </a:ext>
            </a:extLst>
          </p:cNvPr>
          <p:cNvSpPr/>
          <p:nvPr/>
        </p:nvSpPr>
        <p:spPr>
          <a:xfrm>
            <a:off x="2724764" y="3736671"/>
            <a:ext cx="1179445" cy="442227"/>
          </a:xfrm>
          <a:custGeom>
            <a:avLst/>
            <a:gdLst>
              <a:gd name="connsiteX0" fmla="*/ 0 w 1452328"/>
              <a:gd name="connsiteY0" fmla="*/ 462377 h 924753"/>
              <a:gd name="connsiteX1" fmla="*/ 726164 w 1452328"/>
              <a:gd name="connsiteY1" fmla="*/ 0 h 924753"/>
              <a:gd name="connsiteX2" fmla="*/ 1452328 w 1452328"/>
              <a:gd name="connsiteY2" fmla="*/ 462377 h 924753"/>
              <a:gd name="connsiteX3" fmla="*/ 726164 w 1452328"/>
              <a:gd name="connsiteY3" fmla="*/ 924754 h 924753"/>
              <a:gd name="connsiteX4" fmla="*/ 0 w 1452328"/>
              <a:gd name="connsiteY4" fmla="*/ 462377 h 924753"/>
              <a:gd name="connsiteX0" fmla="*/ 0 w 1472513"/>
              <a:gd name="connsiteY0" fmla="*/ 57798 h 520175"/>
              <a:gd name="connsiteX1" fmla="*/ 1452328 w 1472513"/>
              <a:gd name="connsiteY1" fmla="*/ 57798 h 520175"/>
              <a:gd name="connsiteX2" fmla="*/ 726164 w 1472513"/>
              <a:gd name="connsiteY2" fmla="*/ 520175 h 520175"/>
              <a:gd name="connsiteX3" fmla="*/ 0 w 1472513"/>
              <a:gd name="connsiteY3" fmla="*/ 57798 h 520175"/>
              <a:gd name="connsiteX0" fmla="*/ 0 w 1543494"/>
              <a:gd name="connsiteY0" fmla="*/ 34642 h 562061"/>
              <a:gd name="connsiteX1" fmla="*/ 1527391 w 1543494"/>
              <a:gd name="connsiteY1" fmla="*/ 99468 h 562061"/>
              <a:gd name="connsiteX2" fmla="*/ 801227 w 1543494"/>
              <a:gd name="connsiteY2" fmla="*/ 561845 h 562061"/>
              <a:gd name="connsiteX3" fmla="*/ 0 w 1543494"/>
              <a:gd name="connsiteY3" fmla="*/ 34642 h 562061"/>
              <a:gd name="connsiteX0" fmla="*/ 1 w 1543495"/>
              <a:gd name="connsiteY0" fmla="*/ 130 h 527549"/>
              <a:gd name="connsiteX1" fmla="*/ 1527392 w 1543495"/>
              <a:gd name="connsiteY1" fmla="*/ 64956 h 527549"/>
              <a:gd name="connsiteX2" fmla="*/ 801228 w 1543495"/>
              <a:gd name="connsiteY2" fmla="*/ 527333 h 527549"/>
              <a:gd name="connsiteX3" fmla="*/ 1 w 1543495"/>
              <a:gd name="connsiteY3" fmla="*/ 130 h 527549"/>
              <a:gd name="connsiteX0" fmla="*/ 16638 w 1613723"/>
              <a:gd name="connsiteY0" fmla="*/ 60095 h 587298"/>
              <a:gd name="connsiteX1" fmla="*/ 1598620 w 1613723"/>
              <a:gd name="connsiteY1" fmla="*/ 63507 h 587298"/>
              <a:gd name="connsiteX2" fmla="*/ 817865 w 1613723"/>
              <a:gd name="connsiteY2" fmla="*/ 587298 h 587298"/>
              <a:gd name="connsiteX3" fmla="*/ 16638 w 1613723"/>
              <a:gd name="connsiteY3" fmla="*/ 60095 h 587298"/>
              <a:gd name="connsiteX0" fmla="*/ 17601 w 1638169"/>
              <a:gd name="connsiteY0" fmla="*/ 89468 h 616763"/>
              <a:gd name="connsiteX1" fmla="*/ 1623466 w 1638169"/>
              <a:gd name="connsiteY1" fmla="*/ 45113 h 616763"/>
              <a:gd name="connsiteX2" fmla="*/ 818828 w 1638169"/>
              <a:gd name="connsiteY2" fmla="*/ 616671 h 616763"/>
              <a:gd name="connsiteX3" fmla="*/ 17601 w 1638169"/>
              <a:gd name="connsiteY3" fmla="*/ 89468 h 616763"/>
              <a:gd name="connsiteX0" fmla="*/ 17601 w 1638169"/>
              <a:gd name="connsiteY0" fmla="*/ 55033 h 582328"/>
              <a:gd name="connsiteX1" fmla="*/ 1623466 w 1638169"/>
              <a:gd name="connsiteY1" fmla="*/ 10678 h 582328"/>
              <a:gd name="connsiteX2" fmla="*/ 818828 w 1638169"/>
              <a:gd name="connsiteY2" fmla="*/ 582236 h 582328"/>
              <a:gd name="connsiteX3" fmla="*/ 17601 w 1638169"/>
              <a:gd name="connsiteY3" fmla="*/ 55033 h 582328"/>
              <a:gd name="connsiteX0" fmla="*/ 17601 w 1623500"/>
              <a:gd name="connsiteY0" fmla="*/ 55033 h 582328"/>
              <a:gd name="connsiteX1" fmla="*/ 1623466 w 1623500"/>
              <a:gd name="connsiteY1" fmla="*/ 10678 h 582328"/>
              <a:gd name="connsiteX2" fmla="*/ 818828 w 1623500"/>
              <a:gd name="connsiteY2" fmla="*/ 582236 h 582328"/>
              <a:gd name="connsiteX3" fmla="*/ 17601 w 1623500"/>
              <a:gd name="connsiteY3" fmla="*/ 55033 h 582328"/>
              <a:gd name="connsiteX0" fmla="*/ 173 w 1606072"/>
              <a:gd name="connsiteY0" fmla="*/ 44355 h 571635"/>
              <a:gd name="connsiteX1" fmla="*/ 1606038 w 1606072"/>
              <a:gd name="connsiteY1" fmla="*/ 0 h 571635"/>
              <a:gd name="connsiteX2" fmla="*/ 801400 w 1606072"/>
              <a:gd name="connsiteY2" fmla="*/ 571558 h 571635"/>
              <a:gd name="connsiteX3" fmla="*/ 173 w 1606072"/>
              <a:gd name="connsiteY3" fmla="*/ 44355 h 571635"/>
              <a:gd name="connsiteX0" fmla="*/ 537 w 1606515"/>
              <a:gd name="connsiteY0" fmla="*/ 44355 h 572361"/>
              <a:gd name="connsiteX1" fmla="*/ 1606402 w 1606515"/>
              <a:gd name="connsiteY1" fmla="*/ 0 h 572361"/>
              <a:gd name="connsiteX2" fmla="*/ 801764 w 1606515"/>
              <a:gd name="connsiteY2" fmla="*/ 571558 h 572361"/>
              <a:gd name="connsiteX3" fmla="*/ 537 w 1606515"/>
              <a:gd name="connsiteY3" fmla="*/ 44355 h 572361"/>
              <a:gd name="connsiteX0" fmla="*/ 16579 w 1597117"/>
              <a:gd name="connsiteY0" fmla="*/ 42647 h 569861"/>
              <a:gd name="connsiteX1" fmla="*/ 1597081 w 1597117"/>
              <a:gd name="connsiteY1" fmla="*/ 26867 h 569861"/>
              <a:gd name="connsiteX2" fmla="*/ 817806 w 1597117"/>
              <a:gd name="connsiteY2" fmla="*/ 569850 h 569861"/>
              <a:gd name="connsiteX3" fmla="*/ 16579 w 1597117"/>
              <a:gd name="connsiteY3" fmla="*/ 42647 h 569861"/>
              <a:gd name="connsiteX0" fmla="*/ 34 w 1580572"/>
              <a:gd name="connsiteY0" fmla="*/ 15780 h 542992"/>
              <a:gd name="connsiteX1" fmla="*/ 1580536 w 1580572"/>
              <a:gd name="connsiteY1" fmla="*/ 0 h 542992"/>
              <a:gd name="connsiteX2" fmla="*/ 801261 w 1580572"/>
              <a:gd name="connsiteY2" fmla="*/ 542983 h 542992"/>
              <a:gd name="connsiteX3" fmla="*/ 34 w 1580572"/>
              <a:gd name="connsiteY3" fmla="*/ 15780 h 542992"/>
              <a:gd name="connsiteX0" fmla="*/ 34 w 1580650"/>
              <a:gd name="connsiteY0" fmla="*/ 15780 h 543484"/>
              <a:gd name="connsiteX1" fmla="*/ 1580536 w 1580650"/>
              <a:gd name="connsiteY1" fmla="*/ 0 h 543484"/>
              <a:gd name="connsiteX2" fmla="*/ 801261 w 1580650"/>
              <a:gd name="connsiteY2" fmla="*/ 542983 h 543484"/>
              <a:gd name="connsiteX3" fmla="*/ 34 w 1580650"/>
              <a:gd name="connsiteY3" fmla="*/ 15780 h 543484"/>
            </a:gdLst>
            <a:ahLst/>
            <a:cxnLst>
              <a:cxn ang="0">
                <a:pos x="connsiteX0" y="connsiteY0"/>
              </a:cxn>
              <a:cxn ang="0">
                <a:pos x="connsiteX1" y="connsiteY1"/>
              </a:cxn>
              <a:cxn ang="0">
                <a:pos x="connsiteX2" y="connsiteY2"/>
              </a:cxn>
              <a:cxn ang="0">
                <a:pos x="connsiteX3" y="connsiteY3"/>
              </a:cxn>
            </a:cxnLst>
            <a:rect l="l" t="t" r="r" b="b"/>
            <a:pathLst>
              <a:path w="1580650" h="543484">
                <a:moveTo>
                  <a:pt x="34" y="15780"/>
                </a:moveTo>
                <a:cubicBezTo>
                  <a:pt x="-8429" y="13389"/>
                  <a:pt x="1578927" y="8235"/>
                  <a:pt x="1580536" y="0"/>
                </a:cubicBezTo>
                <a:cubicBezTo>
                  <a:pt x="1585557" y="2000"/>
                  <a:pt x="1426673" y="523685"/>
                  <a:pt x="801261" y="542983"/>
                </a:cubicBezTo>
                <a:cubicBezTo>
                  <a:pt x="175849" y="562281"/>
                  <a:pt x="8497" y="18171"/>
                  <a:pt x="34" y="15780"/>
                </a:cubicBezTo>
                <a:close/>
              </a:path>
            </a:pathLst>
          </a:custGeom>
          <a:solidFill>
            <a:srgbClr val="DAC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dirty="0"/>
          </a:p>
        </p:txBody>
      </p:sp>
      <p:sp>
        <p:nvSpPr>
          <p:cNvPr id="195" name="TextBox 194">
            <a:extLst>
              <a:ext uri="{FF2B5EF4-FFF2-40B4-BE49-F238E27FC236}">
                <a16:creationId xmlns:a16="http://schemas.microsoft.com/office/drawing/2014/main" xmlns="" id="{6402D3B3-0FCE-4AA1-8897-B76000A86376}"/>
              </a:ext>
            </a:extLst>
          </p:cNvPr>
          <p:cNvSpPr txBox="1"/>
          <p:nvPr/>
        </p:nvSpPr>
        <p:spPr>
          <a:xfrm>
            <a:off x="2724766" y="3743291"/>
            <a:ext cx="1175538" cy="390030"/>
          </a:xfrm>
          <a:prstGeom prst="rect">
            <a:avLst/>
          </a:prstGeom>
          <a:noFill/>
        </p:spPr>
        <p:txBody>
          <a:bodyPr wrap="square" rtlCol="0">
            <a:spAutoFit/>
          </a:bodyPr>
          <a:lstStyle/>
          <a:p>
            <a:pPr algn="ctr"/>
            <a:r>
              <a:rPr lang="en-US" sz="848" dirty="0">
                <a:ln w="0"/>
                <a:solidFill>
                  <a:srgbClr val="966E32"/>
                </a:solidFill>
                <a:latin typeface="Futura PT Book" panose="020B0502020204020303" pitchFamily="34" charset="0"/>
              </a:rPr>
              <a:t>Governance and</a:t>
            </a:r>
          </a:p>
          <a:p>
            <a:pPr algn="ctr"/>
            <a:r>
              <a:rPr lang="en-US" sz="848" dirty="0">
                <a:ln w="0"/>
                <a:solidFill>
                  <a:srgbClr val="966E32"/>
                </a:solidFill>
                <a:latin typeface="Futura PT Book" panose="020B0502020204020303" pitchFamily="34" charset="0"/>
              </a:rPr>
              <a:t>Index Experts</a:t>
            </a:r>
          </a:p>
        </p:txBody>
      </p:sp>
      <p:sp>
        <p:nvSpPr>
          <p:cNvPr id="115" name="Rectangle 114">
            <a:extLst>
              <a:ext uri="{FF2B5EF4-FFF2-40B4-BE49-F238E27FC236}">
                <a16:creationId xmlns:a16="http://schemas.microsoft.com/office/drawing/2014/main" xmlns="" id="{C2C70B13-A5B2-4F3C-8AC0-9E6639A8D348}"/>
              </a:ext>
            </a:extLst>
          </p:cNvPr>
          <p:cNvSpPr/>
          <p:nvPr/>
        </p:nvSpPr>
        <p:spPr>
          <a:xfrm>
            <a:off x="7972473" y="2776010"/>
            <a:ext cx="970033" cy="206113"/>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Mr Adrian</a:t>
            </a:r>
          </a:p>
          <a:p>
            <a:r>
              <a:rPr lang="en-GB" sz="900" dirty="0">
                <a:solidFill>
                  <a:srgbClr val="404040"/>
                </a:solidFill>
                <a:latin typeface="Gill Sans MT Std Medium" panose="020B0602020104020203" pitchFamily="34" charset="0"/>
              </a:rPr>
              <a:t>Brown</a:t>
            </a:r>
          </a:p>
          <a:p>
            <a:endParaRPr lang="en-GB" sz="900" dirty="0">
              <a:solidFill>
                <a:srgbClr val="404040"/>
              </a:solidFill>
              <a:latin typeface="Gill Sans MT Std Medium" panose="020B0602020104020203" pitchFamily="34" charset="0"/>
            </a:endParaRPr>
          </a:p>
        </p:txBody>
      </p:sp>
      <p:pic>
        <p:nvPicPr>
          <p:cNvPr id="120" name="Graphic 119">
            <a:extLst>
              <a:ext uri="{FF2B5EF4-FFF2-40B4-BE49-F238E27FC236}">
                <a16:creationId xmlns:a16="http://schemas.microsoft.com/office/drawing/2014/main" xmlns="" id="{0D2FA860-43C2-488A-BCA2-9116F2084F1E}"/>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xmlns="" r:embed="rId16"/>
              </a:ext>
            </a:extLst>
          </a:blip>
          <a:srcRect l="33427" t="4865" r="33586" b="48547"/>
          <a:stretch/>
        </p:blipFill>
        <p:spPr>
          <a:xfrm>
            <a:off x="4410766" y="3106635"/>
            <a:ext cx="1123233" cy="985050"/>
          </a:xfrm>
          <a:prstGeom prst="rect">
            <a:avLst/>
          </a:prstGeom>
        </p:spPr>
      </p:pic>
      <p:sp>
        <p:nvSpPr>
          <p:cNvPr id="119" name="Rectangle 118">
            <a:extLst>
              <a:ext uri="{FF2B5EF4-FFF2-40B4-BE49-F238E27FC236}">
                <a16:creationId xmlns:a16="http://schemas.microsoft.com/office/drawing/2014/main" xmlns="" id="{BE3FEBC0-0FAB-8F4F-93F0-360AE9DFCFD9}"/>
              </a:ext>
            </a:extLst>
          </p:cNvPr>
          <p:cNvSpPr/>
          <p:nvPr/>
        </p:nvSpPr>
        <p:spPr>
          <a:xfrm>
            <a:off x="884590" y="2303878"/>
            <a:ext cx="1418744" cy="192452"/>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CEO of </a:t>
            </a:r>
            <a:r>
              <a:rPr lang="en-GB" sz="900" dirty="0" err="1">
                <a:solidFill>
                  <a:srgbClr val="404040"/>
                </a:solidFill>
                <a:latin typeface="Gill Sans MT Std Medium" panose="020B0602020104020203" pitchFamily="34" charset="0"/>
              </a:rPr>
              <a:t>Artha</a:t>
            </a:r>
            <a:r>
              <a:rPr lang="en-GB" sz="900" dirty="0">
                <a:solidFill>
                  <a:srgbClr val="404040"/>
                </a:solidFill>
                <a:latin typeface="Gill Sans MT Std Medium" panose="020B0602020104020203" pitchFamily="34" charset="0"/>
              </a:rPr>
              <a:t> Global</a:t>
            </a:r>
          </a:p>
          <a:p>
            <a:pPr algn="r"/>
            <a:endParaRPr lang="en-GB" sz="900" dirty="0">
              <a:solidFill>
                <a:srgbClr val="404040"/>
              </a:solidFill>
              <a:latin typeface="Gill Sans MT Std Medium" panose="020B0602020104020203" pitchFamily="34" charset="0"/>
            </a:endParaRPr>
          </a:p>
        </p:txBody>
      </p:sp>
      <p:sp>
        <p:nvSpPr>
          <p:cNvPr id="121" name="Rectangle 120">
            <a:extLst>
              <a:ext uri="{FF2B5EF4-FFF2-40B4-BE49-F238E27FC236}">
                <a16:creationId xmlns:a16="http://schemas.microsoft.com/office/drawing/2014/main" xmlns="" id="{FE146096-4A27-8149-93EB-91CB248512B2}"/>
              </a:ext>
            </a:extLst>
          </p:cNvPr>
          <p:cNvSpPr/>
          <p:nvPr/>
        </p:nvSpPr>
        <p:spPr>
          <a:xfrm>
            <a:off x="738106" y="3162046"/>
            <a:ext cx="1202396" cy="138184"/>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CEO of the Danish Design Centre</a:t>
            </a:r>
          </a:p>
          <a:p>
            <a:pPr algn="r"/>
            <a:endParaRPr lang="en-GB" sz="900" dirty="0">
              <a:solidFill>
                <a:srgbClr val="404040"/>
              </a:solidFill>
              <a:latin typeface="Gill Sans MT Std Medium" panose="020B0602020104020203" pitchFamily="34" charset="0"/>
            </a:endParaRPr>
          </a:p>
        </p:txBody>
      </p:sp>
      <p:sp>
        <p:nvSpPr>
          <p:cNvPr id="123" name="Rectangle 122">
            <a:extLst>
              <a:ext uri="{FF2B5EF4-FFF2-40B4-BE49-F238E27FC236}">
                <a16:creationId xmlns:a16="http://schemas.microsoft.com/office/drawing/2014/main" xmlns="" id="{36062309-D139-DD49-9CD0-C915C8F85C93}"/>
              </a:ext>
            </a:extLst>
          </p:cNvPr>
          <p:cNvSpPr/>
          <p:nvPr/>
        </p:nvSpPr>
        <p:spPr>
          <a:xfrm>
            <a:off x="447327" y="3969471"/>
            <a:ext cx="1568283" cy="228890"/>
          </a:xfrm>
          <a:prstGeom prst="rect">
            <a:avLst/>
          </a:prstGeom>
        </p:spPr>
        <p:txBody>
          <a:bodyPr wrap="square" anchor="t">
            <a:noAutofit/>
          </a:bodyPr>
          <a:lstStyle/>
          <a:p>
            <a:pPr algn="r"/>
            <a:r>
              <a:rPr lang="en-GB" sz="900" dirty="0">
                <a:solidFill>
                  <a:srgbClr val="404040"/>
                </a:solidFill>
                <a:latin typeface="Gill Sans MT Std Medium" panose="020B0602020104020203" pitchFamily="34" charset="0"/>
              </a:rPr>
              <a:t>Executive Director of the </a:t>
            </a:r>
          </a:p>
          <a:p>
            <a:pPr algn="r"/>
            <a:r>
              <a:rPr lang="en-GB" sz="900" dirty="0">
                <a:solidFill>
                  <a:srgbClr val="404040"/>
                </a:solidFill>
                <a:latin typeface="Gill Sans MT Std Medium" panose="020B0602020104020203" pitchFamily="34" charset="0"/>
              </a:rPr>
              <a:t>Mo Ibrahim Institute</a:t>
            </a:r>
          </a:p>
          <a:p>
            <a:pPr algn="r"/>
            <a:endParaRPr lang="en-GB" sz="900" dirty="0">
              <a:solidFill>
                <a:srgbClr val="404040"/>
              </a:solidFill>
              <a:latin typeface="Gill Sans MT Std Medium" panose="020B0602020104020203" pitchFamily="34" charset="0"/>
            </a:endParaRPr>
          </a:p>
        </p:txBody>
      </p:sp>
      <p:sp>
        <p:nvSpPr>
          <p:cNvPr id="125" name="Rectangle 124">
            <a:extLst>
              <a:ext uri="{FF2B5EF4-FFF2-40B4-BE49-F238E27FC236}">
                <a16:creationId xmlns:a16="http://schemas.microsoft.com/office/drawing/2014/main" xmlns="" id="{3B0F97EB-2451-A646-9A80-D245527732F9}"/>
              </a:ext>
            </a:extLst>
          </p:cNvPr>
          <p:cNvSpPr/>
          <p:nvPr/>
        </p:nvSpPr>
        <p:spPr>
          <a:xfrm>
            <a:off x="681137" y="4819017"/>
            <a:ext cx="1797451" cy="296091"/>
          </a:xfrm>
          <a:prstGeom prst="rect">
            <a:avLst/>
          </a:prstGeom>
        </p:spPr>
        <p:txBody>
          <a:bodyPr wrap="square" anchor="t">
            <a:noAutofit/>
          </a:bodyPr>
          <a:lstStyle/>
          <a:p>
            <a:pPr algn="r"/>
            <a:r>
              <a:rPr lang="pt-BR" sz="900" dirty="0">
                <a:solidFill>
                  <a:srgbClr val="404040"/>
                </a:solidFill>
                <a:latin typeface="Gill Sans MT Std Medium" panose="020B0602020104020203" pitchFamily="34" charset="0"/>
              </a:rPr>
              <a:t>Coordinator of the Regulatory Policy Programme in Latin America of the OECD</a:t>
            </a:r>
          </a:p>
          <a:p>
            <a:pPr algn="r"/>
            <a:endParaRPr lang="en-GB" sz="900" dirty="0">
              <a:solidFill>
                <a:srgbClr val="404040"/>
              </a:solidFill>
              <a:latin typeface="Gill Sans MT Std Medium" panose="020B0602020104020203" pitchFamily="34" charset="0"/>
            </a:endParaRPr>
          </a:p>
        </p:txBody>
      </p:sp>
      <p:sp>
        <p:nvSpPr>
          <p:cNvPr id="126" name="Rectangle 125">
            <a:extLst>
              <a:ext uri="{FF2B5EF4-FFF2-40B4-BE49-F238E27FC236}">
                <a16:creationId xmlns:a16="http://schemas.microsoft.com/office/drawing/2014/main" xmlns="" id="{3E9A49BB-1697-8049-A242-E91EF388D552}"/>
              </a:ext>
            </a:extLst>
          </p:cNvPr>
          <p:cNvSpPr/>
          <p:nvPr/>
        </p:nvSpPr>
        <p:spPr>
          <a:xfrm>
            <a:off x="7486669" y="2314601"/>
            <a:ext cx="1697587" cy="171765"/>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Executive Director of the World Justice Project</a:t>
            </a:r>
          </a:p>
          <a:p>
            <a:endParaRPr lang="en-GB" sz="900" dirty="0">
              <a:solidFill>
                <a:srgbClr val="404040"/>
              </a:solidFill>
              <a:latin typeface="Gill Sans MT Std Medium" panose="020B0602020104020203" pitchFamily="34" charset="0"/>
            </a:endParaRPr>
          </a:p>
        </p:txBody>
      </p:sp>
      <p:sp>
        <p:nvSpPr>
          <p:cNvPr id="127" name="Rectangle 126">
            <a:extLst>
              <a:ext uri="{FF2B5EF4-FFF2-40B4-BE49-F238E27FC236}">
                <a16:creationId xmlns:a16="http://schemas.microsoft.com/office/drawing/2014/main" xmlns="" id="{4BD5CC73-4F63-DF4C-A4C1-862E674B2C42}"/>
              </a:ext>
            </a:extLst>
          </p:cNvPr>
          <p:cNvSpPr/>
          <p:nvPr/>
        </p:nvSpPr>
        <p:spPr>
          <a:xfrm>
            <a:off x="7961725" y="3172188"/>
            <a:ext cx="1414985" cy="220522"/>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Executive Director of the Centre for Public Impact</a:t>
            </a:r>
          </a:p>
          <a:p>
            <a:endParaRPr lang="en-GB" sz="900" dirty="0">
              <a:solidFill>
                <a:srgbClr val="404040"/>
              </a:solidFill>
              <a:latin typeface="Gill Sans MT Std Medium" panose="020B0602020104020203" pitchFamily="34" charset="0"/>
            </a:endParaRPr>
          </a:p>
        </p:txBody>
      </p:sp>
      <p:sp>
        <p:nvSpPr>
          <p:cNvPr id="128" name="Rectangle 127">
            <a:extLst>
              <a:ext uri="{FF2B5EF4-FFF2-40B4-BE49-F238E27FC236}">
                <a16:creationId xmlns:a16="http://schemas.microsoft.com/office/drawing/2014/main" xmlns="" id="{8C05FCD3-678E-F04A-9590-FE20A4C77C94}"/>
              </a:ext>
            </a:extLst>
          </p:cNvPr>
          <p:cNvSpPr/>
          <p:nvPr/>
        </p:nvSpPr>
        <p:spPr>
          <a:xfrm>
            <a:off x="7957095" y="4057450"/>
            <a:ext cx="1611261" cy="234477"/>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Director of the Global Governance Practice at the World Bank</a:t>
            </a:r>
          </a:p>
          <a:p>
            <a:endParaRPr lang="en-GB" sz="900" dirty="0">
              <a:solidFill>
                <a:srgbClr val="404040"/>
              </a:solidFill>
              <a:latin typeface="Gill Sans MT Std Medium" panose="020B0602020104020203" pitchFamily="34" charset="0"/>
            </a:endParaRPr>
          </a:p>
        </p:txBody>
      </p:sp>
      <p:sp>
        <p:nvSpPr>
          <p:cNvPr id="130" name="Rectangle 129">
            <a:extLst>
              <a:ext uri="{FF2B5EF4-FFF2-40B4-BE49-F238E27FC236}">
                <a16:creationId xmlns:a16="http://schemas.microsoft.com/office/drawing/2014/main" xmlns="" id="{7BBE57BB-3593-424D-8213-428345594042}"/>
              </a:ext>
            </a:extLst>
          </p:cNvPr>
          <p:cNvSpPr/>
          <p:nvPr/>
        </p:nvSpPr>
        <p:spPr>
          <a:xfrm>
            <a:off x="7652998" y="4884011"/>
            <a:ext cx="2025836" cy="244595"/>
          </a:xfrm>
          <a:prstGeom prst="rect">
            <a:avLst/>
          </a:prstGeom>
        </p:spPr>
        <p:txBody>
          <a:bodyPr wrap="square" anchor="t">
            <a:noAutofit/>
          </a:bodyPr>
          <a:lstStyle/>
          <a:p>
            <a:r>
              <a:rPr lang="en-GB" sz="900" dirty="0">
                <a:solidFill>
                  <a:srgbClr val="404040"/>
                </a:solidFill>
                <a:latin typeface="Gill Sans MT Std Medium" panose="020B0602020104020203" pitchFamily="34" charset="0"/>
              </a:rPr>
              <a:t>Professor of Public Policy &amp; Government at Georgetown University</a:t>
            </a:r>
          </a:p>
          <a:p>
            <a:endParaRPr lang="en-GB" sz="900" dirty="0">
              <a:solidFill>
                <a:srgbClr val="404040"/>
              </a:solidFill>
              <a:latin typeface="Gill Sans MT Std Medium" panose="020B0602020104020203" pitchFamily="34" charset="0"/>
            </a:endParaRPr>
          </a:p>
        </p:txBody>
      </p:sp>
      <p:pic>
        <p:nvPicPr>
          <p:cNvPr id="5" name="Picture 4">
            <a:extLst>
              <a:ext uri="{FF2B5EF4-FFF2-40B4-BE49-F238E27FC236}">
                <a16:creationId xmlns:a16="http://schemas.microsoft.com/office/drawing/2014/main" xmlns="" id="{B6A170EC-83E3-4EF0-9F58-82361C0FC0F8}"/>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2307676" y="1979810"/>
            <a:ext cx="655931" cy="656360"/>
          </a:xfrm>
          <a:prstGeom prst="rect">
            <a:avLst/>
          </a:prstGeom>
        </p:spPr>
      </p:pic>
    </p:spTree>
    <p:extLst>
      <p:ext uri="{BB962C8B-B14F-4D97-AF65-F5344CB8AC3E}">
        <p14:creationId xmlns:p14="http://schemas.microsoft.com/office/powerpoint/2010/main" val="150956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0E350E31-9F06-4193-A9D5-9477A7CD92D0}"/>
              </a:ext>
            </a:extLst>
          </p:cNvPr>
          <p:cNvGrpSpPr/>
          <p:nvPr/>
        </p:nvGrpSpPr>
        <p:grpSpPr>
          <a:xfrm>
            <a:off x="1542389" y="744163"/>
            <a:ext cx="6821222" cy="5369674"/>
            <a:chOff x="2078334" y="1202421"/>
            <a:chExt cx="5749332" cy="4525881"/>
          </a:xfrm>
        </p:grpSpPr>
        <p:grpSp>
          <p:nvGrpSpPr>
            <p:cNvPr id="6" name="Group 5">
              <a:extLst>
                <a:ext uri="{FF2B5EF4-FFF2-40B4-BE49-F238E27FC236}">
                  <a16:creationId xmlns:a16="http://schemas.microsoft.com/office/drawing/2014/main" xmlns="" id="{C0775F9F-337E-4025-97C6-CAB0C9656435}"/>
                </a:ext>
              </a:extLst>
            </p:cNvPr>
            <p:cNvGrpSpPr/>
            <p:nvPr/>
          </p:nvGrpSpPr>
          <p:grpSpPr>
            <a:xfrm>
              <a:off x="2078334" y="2149363"/>
              <a:ext cx="5749332" cy="3578939"/>
              <a:chOff x="1461959" y="2202607"/>
              <a:chExt cx="7800296" cy="4855656"/>
            </a:xfrm>
          </p:grpSpPr>
          <p:sp>
            <p:nvSpPr>
              <p:cNvPr id="7" name="Freeform: Shape 6">
                <a:extLst>
                  <a:ext uri="{FF2B5EF4-FFF2-40B4-BE49-F238E27FC236}">
                    <a16:creationId xmlns:a16="http://schemas.microsoft.com/office/drawing/2014/main" xmlns="" id="{A0D5A97E-4544-4A9E-B04A-35734AC3442A}"/>
                  </a:ext>
                </a:extLst>
              </p:cNvPr>
              <p:cNvSpPr/>
              <p:nvPr/>
            </p:nvSpPr>
            <p:spPr>
              <a:xfrm>
                <a:off x="1461959" y="2202607"/>
                <a:ext cx="7800296" cy="293613"/>
              </a:xfrm>
              <a:custGeom>
                <a:avLst/>
                <a:gdLst>
                  <a:gd name="connsiteX0" fmla="*/ 134013 w 7800296"/>
                  <a:gd name="connsiteY0" fmla="*/ 0 h 293613"/>
                  <a:gd name="connsiteX1" fmla="*/ 0 w 7800296"/>
                  <a:gd name="connsiteY1" fmla="*/ 146773 h 293613"/>
                  <a:gd name="connsiteX2" fmla="*/ 134013 w 7800296"/>
                  <a:gd name="connsiteY2" fmla="*/ 293613 h 293613"/>
                  <a:gd name="connsiteX3" fmla="*/ 7666216 w 7800296"/>
                  <a:gd name="connsiteY3" fmla="*/ 293613 h 293613"/>
                  <a:gd name="connsiteX4" fmla="*/ 7800297 w 7800296"/>
                  <a:gd name="connsiteY4" fmla="*/ 146773 h 293613"/>
                  <a:gd name="connsiteX5" fmla="*/ 7666216 w 7800296"/>
                  <a:gd name="connsiteY5" fmla="*/ 0 h 29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0296" h="293613">
                    <a:moveTo>
                      <a:pt x="134013" y="0"/>
                    </a:moveTo>
                    <a:cubicBezTo>
                      <a:pt x="59978" y="0"/>
                      <a:pt x="0" y="65710"/>
                      <a:pt x="0" y="146773"/>
                    </a:cubicBezTo>
                    <a:cubicBezTo>
                      <a:pt x="0" y="227835"/>
                      <a:pt x="59978" y="293613"/>
                      <a:pt x="134013" y="293613"/>
                    </a:cubicBezTo>
                    <a:lnTo>
                      <a:pt x="7666216" y="293613"/>
                    </a:lnTo>
                    <a:cubicBezTo>
                      <a:pt x="7740319" y="293613"/>
                      <a:pt x="7800297" y="227835"/>
                      <a:pt x="7800297" y="146773"/>
                    </a:cubicBezTo>
                    <a:cubicBezTo>
                      <a:pt x="7800297" y="65710"/>
                      <a:pt x="7740319" y="0"/>
                      <a:pt x="7666216" y="0"/>
                    </a:cubicBezTo>
                    <a:close/>
                  </a:path>
                </a:pathLst>
              </a:custGeom>
              <a:solidFill>
                <a:srgbClr val="283750">
                  <a:alpha val="5000"/>
                </a:srgbClr>
              </a:solidFill>
              <a:ln w="6816" cap="flat">
                <a:noFill/>
                <a:prstDash val="solid"/>
                <a:miter/>
              </a:ln>
            </p:spPr>
            <p:txBody>
              <a:bodyPr rtlCol="0" anchor="ctr"/>
              <a:lstStyle/>
              <a:p>
                <a:endParaRPr lang="en-SG" sz="1059"/>
              </a:p>
            </p:txBody>
          </p:sp>
          <p:sp>
            <p:nvSpPr>
              <p:cNvPr id="9" name="Freeform: Shape 8">
                <a:extLst>
                  <a:ext uri="{FF2B5EF4-FFF2-40B4-BE49-F238E27FC236}">
                    <a16:creationId xmlns:a16="http://schemas.microsoft.com/office/drawing/2014/main" xmlns="" id="{959E548A-8ADB-4CEB-A291-BE1DF2D918E3}"/>
                  </a:ext>
                </a:extLst>
              </p:cNvPr>
              <p:cNvSpPr/>
              <p:nvPr/>
            </p:nvSpPr>
            <p:spPr>
              <a:xfrm>
                <a:off x="1476902" y="3709612"/>
                <a:ext cx="977732" cy="3348651"/>
              </a:xfrm>
              <a:custGeom>
                <a:avLst/>
                <a:gdLst>
                  <a:gd name="connsiteX0" fmla="*/ 96484 w 977732"/>
                  <a:gd name="connsiteY0" fmla="*/ 273 h 2899011"/>
                  <a:gd name="connsiteX1" fmla="*/ 0 w 977732"/>
                  <a:gd name="connsiteY1" fmla="*/ 84270 h 2899011"/>
                  <a:gd name="connsiteX2" fmla="*/ 0 w 977732"/>
                  <a:gd name="connsiteY2" fmla="*/ 2814810 h 2899011"/>
                  <a:gd name="connsiteX3" fmla="*/ 96484 w 977732"/>
                  <a:gd name="connsiteY3" fmla="*/ 2899012 h 2899011"/>
                  <a:gd name="connsiteX4" fmla="*/ 881181 w 977732"/>
                  <a:gd name="connsiteY4" fmla="*/ 2899012 h 2899011"/>
                  <a:gd name="connsiteX5" fmla="*/ 977732 w 977732"/>
                  <a:gd name="connsiteY5" fmla="*/ 2814810 h 2899011"/>
                  <a:gd name="connsiteX6" fmla="*/ 977732 w 977732"/>
                  <a:gd name="connsiteY6" fmla="*/ 84270 h 2899011"/>
                  <a:gd name="connsiteX7" fmla="*/ 881181 w 977732"/>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732" h="2899011">
                    <a:moveTo>
                      <a:pt x="96484" y="273"/>
                    </a:moveTo>
                    <a:cubicBezTo>
                      <a:pt x="43192" y="273"/>
                      <a:pt x="0" y="37734"/>
                      <a:pt x="0" y="84270"/>
                    </a:cubicBezTo>
                    <a:lnTo>
                      <a:pt x="0" y="2814810"/>
                    </a:lnTo>
                    <a:cubicBezTo>
                      <a:pt x="0" y="2861346"/>
                      <a:pt x="43192" y="2899012"/>
                      <a:pt x="96484" y="2899012"/>
                    </a:cubicBezTo>
                    <a:lnTo>
                      <a:pt x="881181" y="2899012"/>
                    </a:lnTo>
                    <a:cubicBezTo>
                      <a:pt x="934540" y="2899012"/>
                      <a:pt x="977732" y="2861346"/>
                      <a:pt x="977732" y="2814810"/>
                    </a:cubicBezTo>
                    <a:lnTo>
                      <a:pt x="977732" y="84270"/>
                    </a:lnTo>
                    <a:cubicBezTo>
                      <a:pt x="977732" y="37734"/>
                      <a:pt x="934540" y="0"/>
                      <a:pt x="881181" y="0"/>
                    </a:cubicBezTo>
                    <a:close/>
                  </a:path>
                </a:pathLst>
              </a:custGeom>
              <a:solidFill>
                <a:srgbClr val="D75C37">
                  <a:alpha val="10000"/>
                </a:srgbClr>
              </a:solidFill>
              <a:ln w="6816" cap="flat">
                <a:noFill/>
                <a:prstDash val="solid"/>
                <a:miter/>
              </a:ln>
            </p:spPr>
            <p:txBody>
              <a:bodyPr rtlCol="0" anchor="ctr"/>
              <a:lstStyle/>
              <a:p>
                <a:endParaRPr lang="en-SG" sz="1059" dirty="0"/>
              </a:p>
            </p:txBody>
          </p:sp>
          <p:sp>
            <p:nvSpPr>
              <p:cNvPr id="13" name="object 17">
                <a:extLst>
                  <a:ext uri="{FF2B5EF4-FFF2-40B4-BE49-F238E27FC236}">
                    <a16:creationId xmlns:a16="http://schemas.microsoft.com/office/drawing/2014/main" xmlns="" id="{A051CD33-C3A3-4A88-BFC6-1967636852B3}"/>
                  </a:ext>
                </a:extLst>
              </p:cNvPr>
              <p:cNvSpPr txBox="1"/>
              <p:nvPr/>
            </p:nvSpPr>
            <p:spPr>
              <a:xfrm>
                <a:off x="1508061" y="3749165"/>
                <a:ext cx="915415" cy="1324766"/>
              </a:xfrm>
              <a:prstGeom prst="rect">
                <a:avLst/>
              </a:prstGeom>
            </p:spPr>
            <p:txBody>
              <a:bodyPr vert="horz" wrap="square" lIns="0" tIns="9361" rIns="0" bIns="0" rtlCol="0">
                <a:spAutoFit/>
              </a:bodyPr>
              <a:lstStyle/>
              <a:p>
                <a:pPr algn="ctr">
                  <a:spcBef>
                    <a:spcPts val="442"/>
                  </a:spcBef>
                  <a:spcAft>
                    <a:spcPts val="442"/>
                  </a:spcAft>
                </a:pPr>
                <a:r>
                  <a:rPr sz="800" dirty="0">
                    <a:solidFill>
                      <a:srgbClr val="231F20"/>
                    </a:solidFill>
                    <a:latin typeface="Arsenal"/>
                    <a:cs typeface="Arsenal"/>
                  </a:rPr>
                  <a:t>Anti-Corruption</a:t>
                </a:r>
                <a:endParaRPr lang="en-US" sz="800" dirty="0">
                  <a:solidFill>
                    <a:srgbClr val="231F20"/>
                  </a:solidFill>
                  <a:latin typeface="Arsenal"/>
                  <a:cs typeface="Arsenal"/>
                </a:endParaRPr>
              </a:p>
              <a:p>
                <a:pPr algn="ctr">
                  <a:spcBef>
                    <a:spcPts val="442"/>
                  </a:spcBef>
                  <a:spcAft>
                    <a:spcPts val="442"/>
                  </a:spcAft>
                </a:pPr>
                <a:r>
                  <a:rPr sz="800" dirty="0">
                    <a:solidFill>
                      <a:srgbClr val="231F20"/>
                    </a:solidFill>
                    <a:latin typeface="Arsenal"/>
                    <a:cs typeface="Arsenal"/>
                  </a:rPr>
                  <a:t>Long-</a:t>
                </a:r>
                <a:r>
                  <a:rPr sz="800" spc="-29" dirty="0">
                    <a:solidFill>
                      <a:srgbClr val="231F20"/>
                    </a:solidFill>
                    <a:latin typeface="Arsenal"/>
                    <a:cs typeface="Arsenal"/>
                  </a:rPr>
                  <a:t>T</a:t>
                </a:r>
                <a:r>
                  <a:rPr sz="800" dirty="0">
                    <a:solidFill>
                      <a:srgbClr val="231F20"/>
                    </a:solidFill>
                    <a:latin typeface="Arsenal"/>
                    <a:cs typeface="Arsenal"/>
                  </a:rPr>
                  <a:t>erm Vision  </a:t>
                </a:r>
                <a:endParaRPr lang="en-SG" sz="800" dirty="0">
                  <a:solidFill>
                    <a:srgbClr val="231F20"/>
                  </a:solidFill>
                  <a:latin typeface="Arsenal"/>
                  <a:cs typeface="Arsenal"/>
                </a:endParaRPr>
              </a:p>
              <a:p>
                <a:pPr algn="ctr">
                  <a:spcBef>
                    <a:spcPts val="442"/>
                  </a:spcBef>
                  <a:spcAft>
                    <a:spcPts val="442"/>
                  </a:spcAft>
                </a:pPr>
                <a:r>
                  <a:rPr sz="800" spc="-4" dirty="0">
                    <a:solidFill>
                      <a:srgbClr val="231F20"/>
                    </a:solidFill>
                    <a:latin typeface="Arsenal"/>
                    <a:cs typeface="Arsenal"/>
                  </a:rPr>
                  <a:t>Adaptability</a:t>
                </a:r>
                <a:endParaRPr sz="800" dirty="0">
                  <a:latin typeface="Arsenal"/>
                  <a:cs typeface="Arsenal"/>
                </a:endParaRPr>
              </a:p>
              <a:p>
                <a:pPr marL="73017" marR="67400" algn="ctr">
                  <a:spcBef>
                    <a:spcPts val="442"/>
                  </a:spcBef>
                  <a:spcAft>
                    <a:spcPts val="442"/>
                  </a:spcAft>
                </a:pPr>
                <a:r>
                  <a:rPr sz="800" spc="-4" dirty="0">
                    <a:solidFill>
                      <a:srgbClr val="231F20"/>
                    </a:solidFill>
                    <a:latin typeface="Arsenal"/>
                    <a:cs typeface="Arsenal"/>
                  </a:rPr>
                  <a:t>Strategic </a:t>
                </a:r>
                <a:r>
                  <a:rPr sz="800" dirty="0">
                    <a:solidFill>
                      <a:srgbClr val="231F20"/>
                    </a:solidFill>
                    <a:latin typeface="Arsenal"/>
                    <a:cs typeface="Arsenal"/>
                  </a:rPr>
                  <a:t> Prioritisation</a:t>
                </a:r>
                <a:endParaRPr sz="800" dirty="0">
                  <a:latin typeface="Arsenal"/>
                  <a:cs typeface="Arsenal"/>
                </a:endParaRPr>
              </a:p>
              <a:p>
                <a:pPr algn="ctr">
                  <a:spcBef>
                    <a:spcPts val="442"/>
                  </a:spcBef>
                  <a:spcAft>
                    <a:spcPts val="442"/>
                  </a:spcAft>
                </a:pPr>
                <a:r>
                  <a:rPr sz="800" dirty="0">
                    <a:solidFill>
                      <a:srgbClr val="231F20"/>
                    </a:solidFill>
                    <a:latin typeface="Arsenal"/>
                    <a:cs typeface="Arsenal"/>
                  </a:rPr>
                  <a:t>Innovation</a:t>
                </a:r>
                <a:endParaRPr sz="800" dirty="0">
                  <a:latin typeface="Arsenal"/>
                  <a:cs typeface="Arsenal"/>
                </a:endParaRPr>
              </a:p>
            </p:txBody>
          </p:sp>
          <p:sp>
            <p:nvSpPr>
              <p:cNvPr id="14" name="object 18">
                <a:extLst>
                  <a:ext uri="{FF2B5EF4-FFF2-40B4-BE49-F238E27FC236}">
                    <a16:creationId xmlns:a16="http://schemas.microsoft.com/office/drawing/2014/main" xmlns="" id="{8E560164-6C73-4B15-8E94-B2A4D584D467}"/>
                  </a:ext>
                </a:extLst>
              </p:cNvPr>
              <p:cNvSpPr txBox="1"/>
              <p:nvPr/>
            </p:nvSpPr>
            <p:spPr>
              <a:xfrm>
                <a:off x="1625734" y="6476519"/>
                <a:ext cx="680069" cy="309665"/>
              </a:xfrm>
              <a:prstGeom prst="rect">
                <a:avLst/>
              </a:prstGeom>
            </p:spPr>
            <p:txBody>
              <a:bodyPr vert="horz" wrap="square" lIns="0" tIns="24338" rIns="0" bIns="0" rtlCol="0">
                <a:spAutoFit/>
              </a:bodyPr>
              <a:lstStyle/>
              <a:p>
                <a:pPr marL="9361" marR="3744" indent="85655">
                  <a:spcBef>
                    <a:spcPts val="192"/>
                  </a:spcBef>
                </a:pPr>
                <a:r>
                  <a:rPr sz="800" dirty="0">
                    <a:solidFill>
                      <a:srgbClr val="035379"/>
                    </a:solidFill>
                    <a:latin typeface="Arsenal"/>
                    <a:cs typeface="Arsenal"/>
                  </a:rPr>
                  <a:t>Ethical </a:t>
                </a:r>
                <a:r>
                  <a:rPr sz="800" spc="4" dirty="0">
                    <a:solidFill>
                      <a:srgbClr val="035379"/>
                    </a:solidFill>
                    <a:latin typeface="Arsenal"/>
                    <a:cs typeface="Arsenal"/>
                  </a:rPr>
                  <a:t> </a:t>
                </a:r>
                <a:r>
                  <a:rPr sz="800" dirty="0">
                    <a:solidFill>
                      <a:srgbClr val="035379"/>
                    </a:solidFill>
                    <a:latin typeface="Arsenal"/>
                    <a:cs typeface="Arsenal"/>
                  </a:rPr>
                  <a:t>Leadership *</a:t>
                </a:r>
                <a:endParaRPr sz="800" dirty="0">
                  <a:latin typeface="Arsenal"/>
                  <a:cs typeface="Arsenal"/>
                </a:endParaRPr>
              </a:p>
            </p:txBody>
          </p:sp>
          <p:grpSp>
            <p:nvGrpSpPr>
              <p:cNvPr id="15" name="Group 14">
                <a:extLst>
                  <a:ext uri="{FF2B5EF4-FFF2-40B4-BE49-F238E27FC236}">
                    <a16:creationId xmlns:a16="http://schemas.microsoft.com/office/drawing/2014/main" xmlns="" id="{B1B2DA33-61D3-45FA-BC40-1257ADB1C4B1}"/>
                  </a:ext>
                </a:extLst>
              </p:cNvPr>
              <p:cNvGrpSpPr/>
              <p:nvPr/>
            </p:nvGrpSpPr>
            <p:grpSpPr>
              <a:xfrm>
                <a:off x="1687508" y="2661696"/>
                <a:ext cx="556520" cy="556520"/>
                <a:chOff x="1682083" y="2731902"/>
                <a:chExt cx="556520" cy="556520"/>
              </a:xfrm>
            </p:grpSpPr>
            <p:sp>
              <p:nvSpPr>
                <p:cNvPr id="58" name="Freeform: Shape 57">
                  <a:extLst>
                    <a:ext uri="{FF2B5EF4-FFF2-40B4-BE49-F238E27FC236}">
                      <a16:creationId xmlns:a16="http://schemas.microsoft.com/office/drawing/2014/main" xmlns="" id="{85F60C11-5D4D-4304-B4CA-92B0E38D125F}"/>
                    </a:ext>
                  </a:extLst>
                </p:cNvPr>
                <p:cNvSpPr/>
                <p:nvPr/>
              </p:nvSpPr>
              <p:spPr>
                <a:xfrm>
                  <a:off x="1682083" y="2731902"/>
                  <a:ext cx="556520" cy="556520"/>
                </a:xfrm>
                <a:custGeom>
                  <a:avLst/>
                  <a:gdLst>
                    <a:gd name="connsiteX0" fmla="*/ 556521 w 556520"/>
                    <a:gd name="connsiteY0" fmla="*/ 278260 h 556520"/>
                    <a:gd name="connsiteX1" fmla="*/ 278260 w 556520"/>
                    <a:gd name="connsiteY1" fmla="*/ 556521 h 556520"/>
                    <a:gd name="connsiteX2" fmla="*/ 0 w 556520"/>
                    <a:gd name="connsiteY2" fmla="*/ 278260 h 556520"/>
                    <a:gd name="connsiteX3" fmla="*/ 278260 w 556520"/>
                    <a:gd name="connsiteY3" fmla="*/ 0 h 556520"/>
                    <a:gd name="connsiteX4" fmla="*/ 556521 w 556520"/>
                    <a:gd name="connsiteY4" fmla="*/ 278260 h 55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520" h="556520">
                      <a:moveTo>
                        <a:pt x="556521" y="278260"/>
                      </a:moveTo>
                      <a:cubicBezTo>
                        <a:pt x="556521" y="431939"/>
                        <a:pt x="431939" y="556521"/>
                        <a:pt x="278260" y="556521"/>
                      </a:cubicBezTo>
                      <a:cubicBezTo>
                        <a:pt x="124581" y="556521"/>
                        <a:pt x="0" y="431939"/>
                        <a:pt x="0" y="278260"/>
                      </a:cubicBezTo>
                      <a:cubicBezTo>
                        <a:pt x="0" y="124581"/>
                        <a:pt x="124581" y="0"/>
                        <a:pt x="278260" y="0"/>
                      </a:cubicBezTo>
                      <a:cubicBezTo>
                        <a:pt x="431939" y="0"/>
                        <a:pt x="556521" y="124582"/>
                        <a:pt x="556521" y="278260"/>
                      </a:cubicBezTo>
                      <a:close/>
                    </a:path>
                  </a:pathLst>
                </a:custGeom>
                <a:solidFill>
                  <a:srgbClr val="D75C37"/>
                </a:solidFill>
                <a:ln w="6816" cap="flat">
                  <a:noFill/>
                  <a:prstDash val="solid"/>
                  <a:miter/>
                </a:ln>
              </p:spPr>
              <p:txBody>
                <a:bodyPr rtlCol="0" anchor="ctr"/>
                <a:lstStyle/>
                <a:p>
                  <a:endParaRPr lang="en-SG" sz="1059"/>
                </a:p>
              </p:txBody>
            </p:sp>
            <p:sp>
              <p:nvSpPr>
                <p:cNvPr id="59" name="Freeform: Shape 58">
                  <a:extLst>
                    <a:ext uri="{FF2B5EF4-FFF2-40B4-BE49-F238E27FC236}">
                      <a16:creationId xmlns:a16="http://schemas.microsoft.com/office/drawing/2014/main" xmlns="" id="{0FAB07D9-2D02-43C6-B86A-290631DFBC48}"/>
                    </a:ext>
                  </a:extLst>
                </p:cNvPr>
                <p:cNvSpPr/>
                <p:nvPr/>
              </p:nvSpPr>
              <p:spPr>
                <a:xfrm>
                  <a:off x="1757345" y="2873505"/>
                  <a:ext cx="406746" cy="406662"/>
                </a:xfrm>
                <a:custGeom>
                  <a:avLst/>
                  <a:gdLst>
                    <a:gd name="connsiteX0" fmla="*/ 392759 w 406746"/>
                    <a:gd name="connsiteY0" fmla="*/ 18681 h 406662"/>
                    <a:gd name="connsiteX1" fmla="*/ 318656 w 406746"/>
                    <a:gd name="connsiteY1" fmla="*/ 18681 h 406662"/>
                    <a:gd name="connsiteX2" fmla="*/ 307739 w 406746"/>
                    <a:gd name="connsiteY2" fmla="*/ 24412 h 406662"/>
                    <a:gd name="connsiteX3" fmla="*/ 300096 w 406746"/>
                    <a:gd name="connsiteY3" fmla="*/ 27960 h 406662"/>
                    <a:gd name="connsiteX4" fmla="*/ 248852 w 406746"/>
                    <a:gd name="connsiteY4" fmla="*/ 27961 h 406662"/>
                    <a:gd name="connsiteX5" fmla="*/ 236365 w 406746"/>
                    <a:gd name="connsiteY5" fmla="*/ 34034 h 406662"/>
                    <a:gd name="connsiteX6" fmla="*/ 229542 w 406746"/>
                    <a:gd name="connsiteY6" fmla="*/ 37445 h 406662"/>
                    <a:gd name="connsiteX7" fmla="*/ 184371 w 406746"/>
                    <a:gd name="connsiteY7" fmla="*/ 37445 h 406662"/>
                    <a:gd name="connsiteX8" fmla="*/ 176319 w 406746"/>
                    <a:gd name="connsiteY8" fmla="*/ 38401 h 406662"/>
                    <a:gd name="connsiteX9" fmla="*/ 143089 w 406746"/>
                    <a:gd name="connsiteY9" fmla="*/ 46725 h 406662"/>
                    <a:gd name="connsiteX10" fmla="*/ 125962 w 406746"/>
                    <a:gd name="connsiteY10" fmla="*/ 50751 h 406662"/>
                    <a:gd name="connsiteX11" fmla="*/ 125962 w 406746"/>
                    <a:gd name="connsiteY11" fmla="*/ 43928 h 406662"/>
                    <a:gd name="connsiteX12" fmla="*/ 120503 w 406746"/>
                    <a:gd name="connsiteY12" fmla="*/ 14723 h 406662"/>
                    <a:gd name="connsiteX13" fmla="*/ 94273 w 406746"/>
                    <a:gd name="connsiteY13" fmla="*/ 954 h 406662"/>
                    <a:gd name="connsiteX14" fmla="*/ 93892 w 406746"/>
                    <a:gd name="connsiteY14" fmla="*/ 1076 h 406662"/>
                    <a:gd name="connsiteX15" fmla="*/ 79221 w 406746"/>
                    <a:gd name="connsiteY15" fmla="*/ 6740 h 406662"/>
                    <a:gd name="connsiteX16" fmla="*/ 58341 w 406746"/>
                    <a:gd name="connsiteY16" fmla="*/ 18408 h 406662"/>
                    <a:gd name="connsiteX17" fmla="*/ 49130 w 406746"/>
                    <a:gd name="connsiteY17" fmla="*/ 34511 h 406662"/>
                    <a:gd name="connsiteX18" fmla="*/ 49130 w 406746"/>
                    <a:gd name="connsiteY18" fmla="*/ 69925 h 406662"/>
                    <a:gd name="connsiteX19" fmla="*/ 54384 w 406746"/>
                    <a:gd name="connsiteY19" fmla="*/ 100289 h 406662"/>
                    <a:gd name="connsiteX20" fmla="*/ 28796 w 406746"/>
                    <a:gd name="connsiteY20" fmla="*/ 118576 h 406662"/>
                    <a:gd name="connsiteX21" fmla="*/ 11533 w 406746"/>
                    <a:gd name="connsiteY21" fmla="*/ 137818 h 406662"/>
                    <a:gd name="connsiteX22" fmla="*/ 3208 w 406746"/>
                    <a:gd name="connsiteY22" fmla="*/ 204620 h 406662"/>
                    <a:gd name="connsiteX23" fmla="*/ 13238 w 406746"/>
                    <a:gd name="connsiteY23" fmla="*/ 231504 h 406662"/>
                    <a:gd name="connsiteX24" fmla="*/ 25043 w 406746"/>
                    <a:gd name="connsiteY24" fmla="*/ 271080 h 406662"/>
                    <a:gd name="connsiteX25" fmla="*/ 31866 w 406746"/>
                    <a:gd name="connsiteY25" fmla="*/ 319186 h 406662"/>
                    <a:gd name="connsiteX26" fmla="*/ 31866 w 406746"/>
                    <a:gd name="connsiteY26" fmla="*/ 352620 h 406662"/>
                    <a:gd name="connsiteX27" fmla="*/ 37646 w 406746"/>
                    <a:gd name="connsiteY27" fmla="*/ 358710 h 406662"/>
                    <a:gd name="connsiteX28" fmla="*/ 40328 w 406746"/>
                    <a:gd name="connsiteY28" fmla="*/ 358148 h 406662"/>
                    <a:gd name="connsiteX29" fmla="*/ 44626 w 406746"/>
                    <a:gd name="connsiteY29" fmla="*/ 350983 h 406662"/>
                    <a:gd name="connsiteX30" fmla="*/ 44626 w 406746"/>
                    <a:gd name="connsiteY30" fmla="*/ 300285 h 406662"/>
                    <a:gd name="connsiteX31" fmla="*/ 132649 w 406746"/>
                    <a:gd name="connsiteY31" fmla="*/ 300285 h 406662"/>
                    <a:gd name="connsiteX32" fmla="*/ 132649 w 406746"/>
                    <a:gd name="connsiteY32" fmla="*/ 398474 h 406662"/>
                    <a:gd name="connsiteX33" fmla="*/ 139472 w 406746"/>
                    <a:gd name="connsiteY33" fmla="*/ 406662 h 406662"/>
                    <a:gd name="connsiteX34" fmla="*/ 146296 w 406746"/>
                    <a:gd name="connsiteY34" fmla="*/ 398406 h 406662"/>
                    <a:gd name="connsiteX35" fmla="*/ 146296 w 406746"/>
                    <a:gd name="connsiteY35" fmla="*/ 298852 h 406662"/>
                    <a:gd name="connsiteX36" fmla="*/ 147729 w 406746"/>
                    <a:gd name="connsiteY36" fmla="*/ 289845 h 406662"/>
                    <a:gd name="connsiteX37" fmla="*/ 165743 w 406746"/>
                    <a:gd name="connsiteY37" fmla="*/ 242558 h 406662"/>
                    <a:gd name="connsiteX38" fmla="*/ 170587 w 406746"/>
                    <a:gd name="connsiteY38" fmla="*/ 236622 h 406662"/>
                    <a:gd name="connsiteX39" fmla="*/ 204705 w 406746"/>
                    <a:gd name="connsiteY39" fmla="*/ 199502 h 406662"/>
                    <a:gd name="connsiteX40" fmla="*/ 212688 w 406746"/>
                    <a:gd name="connsiteY40" fmla="*/ 199502 h 406662"/>
                    <a:gd name="connsiteX41" fmla="*/ 253629 w 406746"/>
                    <a:gd name="connsiteY41" fmla="*/ 179032 h 406662"/>
                    <a:gd name="connsiteX42" fmla="*/ 285767 w 406746"/>
                    <a:gd name="connsiteY42" fmla="*/ 133110 h 406662"/>
                    <a:gd name="connsiteX43" fmla="*/ 291908 w 406746"/>
                    <a:gd name="connsiteY43" fmla="*/ 112640 h 406662"/>
                    <a:gd name="connsiteX44" fmla="*/ 291908 w 406746"/>
                    <a:gd name="connsiteY44" fmla="*/ 106772 h 406662"/>
                    <a:gd name="connsiteX45" fmla="*/ 304941 w 406746"/>
                    <a:gd name="connsiteY45" fmla="*/ 106771 h 406662"/>
                    <a:gd name="connsiteX46" fmla="*/ 322545 w 406746"/>
                    <a:gd name="connsiteY46" fmla="*/ 120418 h 406662"/>
                    <a:gd name="connsiteX47" fmla="*/ 389006 w 406746"/>
                    <a:gd name="connsiteY47" fmla="*/ 120418 h 406662"/>
                    <a:gd name="connsiteX48" fmla="*/ 406747 w 406746"/>
                    <a:gd name="connsiteY48" fmla="*/ 109364 h 406662"/>
                    <a:gd name="connsiteX49" fmla="*/ 406747 w 406746"/>
                    <a:gd name="connsiteY49" fmla="*/ 28575 h 406662"/>
                    <a:gd name="connsiteX50" fmla="*/ 392759 w 406746"/>
                    <a:gd name="connsiteY50" fmla="*/ 18681 h 406662"/>
                    <a:gd name="connsiteX51" fmla="*/ 238139 w 406746"/>
                    <a:gd name="connsiteY51" fmla="*/ 102200 h 406662"/>
                    <a:gd name="connsiteX52" fmla="*/ 241824 w 406746"/>
                    <a:gd name="connsiteY52" fmla="*/ 105407 h 406662"/>
                    <a:gd name="connsiteX53" fmla="*/ 214121 w 406746"/>
                    <a:gd name="connsiteY53" fmla="*/ 128538 h 406662"/>
                    <a:gd name="connsiteX54" fmla="*/ 218147 w 406746"/>
                    <a:gd name="connsiteY54" fmla="*/ 100494 h 406662"/>
                    <a:gd name="connsiteX55" fmla="*/ 219784 w 406746"/>
                    <a:gd name="connsiteY55" fmla="*/ 98583 h 406662"/>
                    <a:gd name="connsiteX56" fmla="*/ 238140 w 406746"/>
                    <a:gd name="connsiteY56" fmla="*/ 102200 h 406662"/>
                    <a:gd name="connsiteX57" fmla="*/ 188942 w 406746"/>
                    <a:gd name="connsiteY57" fmla="*/ 50819 h 406662"/>
                    <a:gd name="connsiteX58" fmla="*/ 231179 w 406746"/>
                    <a:gd name="connsiteY58" fmla="*/ 50819 h 406662"/>
                    <a:gd name="connsiteX59" fmla="*/ 233772 w 406746"/>
                    <a:gd name="connsiteY59" fmla="*/ 53344 h 406662"/>
                    <a:gd name="connsiteX60" fmla="*/ 233772 w 406746"/>
                    <a:gd name="connsiteY60" fmla="*/ 85005 h 406662"/>
                    <a:gd name="connsiteX61" fmla="*/ 188806 w 406746"/>
                    <a:gd name="connsiteY61" fmla="*/ 85005 h 406662"/>
                    <a:gd name="connsiteX62" fmla="*/ 129783 w 406746"/>
                    <a:gd name="connsiteY62" fmla="*/ 63920 h 406662"/>
                    <a:gd name="connsiteX63" fmla="*/ 172839 w 406746"/>
                    <a:gd name="connsiteY63" fmla="*/ 53207 h 406662"/>
                    <a:gd name="connsiteX64" fmla="*/ 172839 w 406746"/>
                    <a:gd name="connsiteY64" fmla="*/ 82685 h 406662"/>
                    <a:gd name="connsiteX65" fmla="*/ 151004 w 406746"/>
                    <a:gd name="connsiteY65" fmla="*/ 76680 h 406662"/>
                    <a:gd name="connsiteX66" fmla="*/ 130124 w 406746"/>
                    <a:gd name="connsiteY66" fmla="*/ 70880 h 406662"/>
                    <a:gd name="connsiteX67" fmla="*/ 127687 w 406746"/>
                    <a:gd name="connsiteY67" fmla="*/ 66494 h 406662"/>
                    <a:gd name="connsiteX68" fmla="*/ 130124 w 406746"/>
                    <a:gd name="connsiteY68" fmla="*/ 64057 h 406662"/>
                    <a:gd name="connsiteX69" fmla="*/ 126440 w 406746"/>
                    <a:gd name="connsiteY69" fmla="*/ 83708 h 406662"/>
                    <a:gd name="connsiteX70" fmla="*/ 170451 w 406746"/>
                    <a:gd name="connsiteY70" fmla="*/ 95786 h 406662"/>
                    <a:gd name="connsiteX71" fmla="*/ 163627 w 406746"/>
                    <a:gd name="connsiteY71" fmla="*/ 111480 h 406662"/>
                    <a:gd name="connsiteX72" fmla="*/ 123301 w 406746"/>
                    <a:gd name="connsiteY72" fmla="*/ 96400 h 406662"/>
                    <a:gd name="connsiteX73" fmla="*/ 126371 w 406746"/>
                    <a:gd name="connsiteY73" fmla="*/ 83708 h 406662"/>
                    <a:gd name="connsiteX74" fmla="*/ 65028 w 406746"/>
                    <a:gd name="connsiteY74" fmla="*/ 30212 h 406662"/>
                    <a:gd name="connsiteX75" fmla="*/ 92322 w 406746"/>
                    <a:gd name="connsiteY75" fmla="*/ 15474 h 406662"/>
                    <a:gd name="connsiteX76" fmla="*/ 110404 w 406746"/>
                    <a:gd name="connsiteY76" fmla="*/ 24549 h 406662"/>
                    <a:gd name="connsiteX77" fmla="*/ 112793 w 406746"/>
                    <a:gd name="connsiteY77" fmla="*/ 37104 h 406662"/>
                    <a:gd name="connsiteX78" fmla="*/ 61276 w 406746"/>
                    <a:gd name="connsiteY78" fmla="*/ 37104 h 406662"/>
                    <a:gd name="connsiteX79" fmla="*/ 65028 w 406746"/>
                    <a:gd name="connsiteY79" fmla="*/ 30212 h 406662"/>
                    <a:gd name="connsiteX80" fmla="*/ 113748 w 406746"/>
                    <a:gd name="connsiteY80" fmla="*/ 50683 h 406662"/>
                    <a:gd name="connsiteX81" fmla="*/ 111223 w 406746"/>
                    <a:gd name="connsiteY81" fmla="*/ 88485 h 406662"/>
                    <a:gd name="connsiteX82" fmla="*/ 85089 w 406746"/>
                    <a:gd name="connsiteY82" fmla="*/ 105953 h 406662"/>
                    <a:gd name="connsiteX83" fmla="*/ 62435 w 406746"/>
                    <a:gd name="connsiteY83" fmla="*/ 84527 h 406662"/>
                    <a:gd name="connsiteX84" fmla="*/ 62436 w 406746"/>
                    <a:gd name="connsiteY84" fmla="*/ 50410 h 406662"/>
                    <a:gd name="connsiteX85" fmla="*/ 137494 w 406746"/>
                    <a:gd name="connsiteY85" fmla="*/ 277494 h 406662"/>
                    <a:gd name="connsiteX86" fmla="*/ 124324 w 406746"/>
                    <a:gd name="connsiteY86" fmla="*/ 286569 h 406662"/>
                    <a:gd name="connsiteX87" fmla="*/ 48038 w 406746"/>
                    <a:gd name="connsiteY87" fmla="*/ 286569 h 406662"/>
                    <a:gd name="connsiteX88" fmla="*/ 41261 w 406746"/>
                    <a:gd name="connsiteY88" fmla="*/ 281779 h 406662"/>
                    <a:gd name="connsiteX89" fmla="*/ 41215 w 406746"/>
                    <a:gd name="connsiteY89" fmla="*/ 281452 h 406662"/>
                    <a:gd name="connsiteX90" fmla="*/ 30365 w 406746"/>
                    <a:gd name="connsiteY90" fmla="*/ 243513 h 406662"/>
                    <a:gd name="connsiteX91" fmla="*/ 63323 w 406746"/>
                    <a:gd name="connsiteY91" fmla="*/ 248085 h 406662"/>
                    <a:gd name="connsiteX92" fmla="*/ 148479 w 406746"/>
                    <a:gd name="connsiteY92" fmla="*/ 248085 h 406662"/>
                    <a:gd name="connsiteX93" fmla="*/ 137494 w 406746"/>
                    <a:gd name="connsiteY93" fmla="*/ 277562 h 406662"/>
                    <a:gd name="connsiteX94" fmla="*/ 192559 w 406746"/>
                    <a:gd name="connsiteY94" fmla="*/ 185992 h 406662"/>
                    <a:gd name="connsiteX95" fmla="*/ 161376 w 406746"/>
                    <a:gd name="connsiteY95" fmla="*/ 225977 h 406662"/>
                    <a:gd name="connsiteX96" fmla="*/ 123574 w 406746"/>
                    <a:gd name="connsiteY96" fmla="*/ 235325 h 406662"/>
                    <a:gd name="connsiteX97" fmla="*/ 56021 w 406746"/>
                    <a:gd name="connsiteY97" fmla="*/ 235325 h 406662"/>
                    <a:gd name="connsiteX98" fmla="*/ 18561 w 406746"/>
                    <a:gd name="connsiteY98" fmla="*/ 210010 h 406662"/>
                    <a:gd name="connsiteX99" fmla="*/ 27295 w 406746"/>
                    <a:gd name="connsiteY99" fmla="*/ 136863 h 406662"/>
                    <a:gd name="connsiteX100" fmla="*/ 30911 w 406746"/>
                    <a:gd name="connsiteY100" fmla="*/ 132837 h 406662"/>
                    <a:gd name="connsiteX101" fmla="*/ 62436 w 406746"/>
                    <a:gd name="connsiteY101" fmla="*/ 110183 h 406662"/>
                    <a:gd name="connsiteX102" fmla="*/ 97303 w 406746"/>
                    <a:gd name="connsiteY102" fmla="*/ 117552 h 406662"/>
                    <a:gd name="connsiteX103" fmla="*/ 112724 w 406746"/>
                    <a:gd name="connsiteY103" fmla="*/ 109774 h 406662"/>
                    <a:gd name="connsiteX104" fmla="*/ 117842 w 406746"/>
                    <a:gd name="connsiteY104" fmla="*/ 108273 h 406662"/>
                    <a:gd name="connsiteX105" fmla="*/ 157964 w 406746"/>
                    <a:gd name="connsiteY105" fmla="*/ 123216 h 406662"/>
                    <a:gd name="connsiteX106" fmla="*/ 156463 w 406746"/>
                    <a:gd name="connsiteY106" fmla="*/ 127378 h 406662"/>
                    <a:gd name="connsiteX107" fmla="*/ 137221 w 406746"/>
                    <a:gd name="connsiteY107" fmla="*/ 171185 h 406662"/>
                    <a:gd name="connsiteX108" fmla="*/ 130875 w 406746"/>
                    <a:gd name="connsiteY108" fmla="*/ 175415 h 406662"/>
                    <a:gd name="connsiteX109" fmla="*/ 95529 w 406746"/>
                    <a:gd name="connsiteY109" fmla="*/ 173914 h 406662"/>
                    <a:gd name="connsiteX110" fmla="*/ 87614 w 406746"/>
                    <a:gd name="connsiteY110" fmla="*/ 170298 h 406662"/>
                    <a:gd name="connsiteX111" fmla="*/ 78607 w 406746"/>
                    <a:gd name="connsiteY111" fmla="*/ 161564 h 406662"/>
                    <a:gd name="connsiteX112" fmla="*/ 69024 w 406746"/>
                    <a:gd name="connsiteY112" fmla="*/ 160431 h 406662"/>
                    <a:gd name="connsiteX113" fmla="*/ 68508 w 406746"/>
                    <a:gd name="connsiteY113" fmla="*/ 160882 h 406662"/>
                    <a:gd name="connsiteX114" fmla="*/ 67961 w 406746"/>
                    <a:gd name="connsiteY114" fmla="*/ 169839 h 406662"/>
                    <a:gd name="connsiteX115" fmla="*/ 69191 w 406746"/>
                    <a:gd name="connsiteY115" fmla="*/ 170912 h 406662"/>
                    <a:gd name="connsiteX116" fmla="*/ 70283 w 406746"/>
                    <a:gd name="connsiteY116" fmla="*/ 172072 h 406662"/>
                    <a:gd name="connsiteX117" fmla="*/ 106447 w 406746"/>
                    <a:gd name="connsiteY117" fmla="*/ 187698 h 406662"/>
                    <a:gd name="connsiteX118" fmla="*/ 136334 w 406746"/>
                    <a:gd name="connsiteY118" fmla="*/ 188585 h 406662"/>
                    <a:gd name="connsiteX119" fmla="*/ 147047 w 406746"/>
                    <a:gd name="connsiteY119" fmla="*/ 181762 h 406662"/>
                    <a:gd name="connsiteX120" fmla="*/ 168677 w 406746"/>
                    <a:gd name="connsiteY120" fmla="*/ 132496 h 406662"/>
                    <a:gd name="connsiteX121" fmla="*/ 170860 w 406746"/>
                    <a:gd name="connsiteY121" fmla="*/ 128061 h 406662"/>
                    <a:gd name="connsiteX122" fmla="*/ 199109 w 406746"/>
                    <a:gd name="connsiteY122" fmla="*/ 138637 h 406662"/>
                    <a:gd name="connsiteX123" fmla="*/ 192559 w 406746"/>
                    <a:gd name="connsiteY123" fmla="*/ 186060 h 406662"/>
                    <a:gd name="connsiteX124" fmla="*/ 201088 w 406746"/>
                    <a:gd name="connsiteY124" fmla="*/ 125400 h 406662"/>
                    <a:gd name="connsiteX125" fmla="*/ 175978 w 406746"/>
                    <a:gd name="connsiteY125" fmla="*/ 116393 h 406662"/>
                    <a:gd name="connsiteX126" fmla="*/ 182801 w 406746"/>
                    <a:gd name="connsiteY126" fmla="*/ 100971 h 406662"/>
                    <a:gd name="connsiteX127" fmla="*/ 186554 w 406746"/>
                    <a:gd name="connsiteY127" fmla="*/ 98788 h 406662"/>
                    <a:gd name="connsiteX128" fmla="*/ 204841 w 406746"/>
                    <a:gd name="connsiteY128" fmla="*/ 98788 h 406662"/>
                    <a:gd name="connsiteX129" fmla="*/ 201088 w 406746"/>
                    <a:gd name="connsiteY129" fmla="*/ 125468 h 406662"/>
                    <a:gd name="connsiteX130" fmla="*/ 252810 w 406746"/>
                    <a:gd name="connsiteY130" fmla="*/ 156241 h 406662"/>
                    <a:gd name="connsiteX131" fmla="*/ 237730 w 406746"/>
                    <a:gd name="connsiteY131" fmla="*/ 176166 h 406662"/>
                    <a:gd name="connsiteX132" fmla="*/ 205660 w 406746"/>
                    <a:gd name="connsiteY132" fmla="*/ 185924 h 406662"/>
                    <a:gd name="connsiteX133" fmla="*/ 211255 w 406746"/>
                    <a:gd name="connsiteY133" fmla="*/ 146825 h 406662"/>
                    <a:gd name="connsiteX134" fmla="*/ 232271 w 406746"/>
                    <a:gd name="connsiteY134" fmla="*/ 131131 h 406662"/>
                    <a:gd name="connsiteX135" fmla="*/ 252742 w 406746"/>
                    <a:gd name="connsiteY135" fmla="*/ 151602 h 406662"/>
                    <a:gd name="connsiteX136" fmla="*/ 252810 w 406746"/>
                    <a:gd name="connsiteY136" fmla="*/ 156310 h 406662"/>
                    <a:gd name="connsiteX137" fmla="*/ 274372 w 406746"/>
                    <a:gd name="connsiteY137" fmla="*/ 124922 h 406662"/>
                    <a:gd name="connsiteX138" fmla="*/ 262977 w 406746"/>
                    <a:gd name="connsiteY138" fmla="*/ 141639 h 406662"/>
                    <a:gd name="connsiteX139" fmla="*/ 243121 w 406746"/>
                    <a:gd name="connsiteY139" fmla="*/ 121510 h 406662"/>
                    <a:gd name="connsiteX140" fmla="*/ 259701 w 406746"/>
                    <a:gd name="connsiteY140" fmla="*/ 107863 h 406662"/>
                    <a:gd name="connsiteX141" fmla="*/ 277511 w 406746"/>
                    <a:gd name="connsiteY141" fmla="*/ 104861 h 406662"/>
                    <a:gd name="connsiteX142" fmla="*/ 274372 w 406746"/>
                    <a:gd name="connsiteY142" fmla="*/ 124990 h 406662"/>
                    <a:gd name="connsiteX143" fmla="*/ 304600 w 406746"/>
                    <a:gd name="connsiteY143" fmla="*/ 93398 h 406662"/>
                    <a:gd name="connsiteX144" fmla="*/ 245509 w 406746"/>
                    <a:gd name="connsiteY144" fmla="*/ 93398 h 406662"/>
                    <a:gd name="connsiteX145" fmla="*/ 245509 w 406746"/>
                    <a:gd name="connsiteY145" fmla="*/ 42972 h 406662"/>
                    <a:gd name="connsiteX146" fmla="*/ 304600 w 406746"/>
                    <a:gd name="connsiteY146" fmla="*/ 42972 h 406662"/>
                    <a:gd name="connsiteX147" fmla="*/ 392895 w 406746"/>
                    <a:gd name="connsiteY147" fmla="*/ 106703 h 406662"/>
                    <a:gd name="connsiteX148" fmla="*/ 318520 w 406746"/>
                    <a:gd name="connsiteY148" fmla="*/ 106703 h 406662"/>
                    <a:gd name="connsiteX149" fmla="*/ 318520 w 406746"/>
                    <a:gd name="connsiteY149" fmla="*/ 32259 h 406662"/>
                    <a:gd name="connsiteX150" fmla="*/ 392895 w 406746"/>
                    <a:gd name="connsiteY150" fmla="*/ 32259 h 4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406746" h="406662">
                      <a:moveTo>
                        <a:pt x="392759" y="18681"/>
                      </a:moveTo>
                      <a:cubicBezTo>
                        <a:pt x="368058" y="18681"/>
                        <a:pt x="343357" y="18681"/>
                        <a:pt x="318656" y="18681"/>
                      </a:cubicBezTo>
                      <a:cubicBezTo>
                        <a:pt x="314434" y="19176"/>
                        <a:pt x="310544" y="21218"/>
                        <a:pt x="307739" y="24412"/>
                      </a:cubicBezTo>
                      <a:cubicBezTo>
                        <a:pt x="305936" y="26787"/>
                        <a:pt x="303074" y="28116"/>
                        <a:pt x="300096" y="27960"/>
                      </a:cubicBezTo>
                      <a:cubicBezTo>
                        <a:pt x="283038" y="27961"/>
                        <a:pt x="265979" y="27961"/>
                        <a:pt x="248852" y="27961"/>
                      </a:cubicBezTo>
                      <a:cubicBezTo>
                        <a:pt x="243857" y="27345"/>
                        <a:pt x="238965" y="29723"/>
                        <a:pt x="236365" y="34034"/>
                      </a:cubicBezTo>
                      <a:cubicBezTo>
                        <a:pt x="235105" y="36564"/>
                        <a:pt x="232322" y="37955"/>
                        <a:pt x="229542" y="37445"/>
                      </a:cubicBezTo>
                      <a:cubicBezTo>
                        <a:pt x="214530" y="37445"/>
                        <a:pt x="199473" y="37445"/>
                        <a:pt x="184371" y="37445"/>
                      </a:cubicBezTo>
                      <a:cubicBezTo>
                        <a:pt x="181659" y="37452"/>
                        <a:pt x="178957" y="37773"/>
                        <a:pt x="176319" y="38401"/>
                      </a:cubicBezTo>
                      <a:lnTo>
                        <a:pt x="143089" y="46725"/>
                      </a:lnTo>
                      <a:cubicBezTo>
                        <a:pt x="137562" y="48158"/>
                        <a:pt x="131967" y="49386"/>
                        <a:pt x="125962" y="50751"/>
                      </a:cubicBezTo>
                      <a:cubicBezTo>
                        <a:pt x="126102" y="48479"/>
                        <a:pt x="126102" y="46200"/>
                        <a:pt x="125962" y="43928"/>
                      </a:cubicBezTo>
                      <a:cubicBezTo>
                        <a:pt x="124874" y="34070"/>
                        <a:pt x="123049" y="24308"/>
                        <a:pt x="120503" y="14723"/>
                      </a:cubicBezTo>
                      <a:cubicBezTo>
                        <a:pt x="117062" y="3678"/>
                        <a:pt x="105318" y="-2487"/>
                        <a:pt x="94273" y="954"/>
                      </a:cubicBezTo>
                      <a:cubicBezTo>
                        <a:pt x="94145" y="993"/>
                        <a:pt x="94018" y="1034"/>
                        <a:pt x="93892" y="1076"/>
                      </a:cubicBezTo>
                      <a:cubicBezTo>
                        <a:pt x="88807" y="2414"/>
                        <a:pt x="83886" y="4314"/>
                        <a:pt x="79221" y="6740"/>
                      </a:cubicBezTo>
                      <a:cubicBezTo>
                        <a:pt x="72398" y="10356"/>
                        <a:pt x="65574" y="14655"/>
                        <a:pt x="58341" y="18408"/>
                      </a:cubicBezTo>
                      <a:cubicBezTo>
                        <a:pt x="52301" y="21423"/>
                        <a:pt x="48667" y="27776"/>
                        <a:pt x="49130" y="34511"/>
                      </a:cubicBezTo>
                      <a:cubicBezTo>
                        <a:pt x="49130" y="46316"/>
                        <a:pt x="49130" y="58120"/>
                        <a:pt x="49130" y="69925"/>
                      </a:cubicBezTo>
                      <a:cubicBezTo>
                        <a:pt x="47877" y="80342"/>
                        <a:pt x="49704" y="90898"/>
                        <a:pt x="54384" y="100289"/>
                      </a:cubicBezTo>
                      <a:cubicBezTo>
                        <a:pt x="45582" y="106567"/>
                        <a:pt x="37393" y="112913"/>
                        <a:pt x="28796" y="118576"/>
                      </a:cubicBezTo>
                      <a:cubicBezTo>
                        <a:pt x="21529" y="123452"/>
                        <a:pt x="15595" y="130067"/>
                        <a:pt x="11533" y="137818"/>
                      </a:cubicBezTo>
                      <a:cubicBezTo>
                        <a:pt x="-64" y="158076"/>
                        <a:pt x="-3062" y="182136"/>
                        <a:pt x="3208" y="204620"/>
                      </a:cubicBezTo>
                      <a:cubicBezTo>
                        <a:pt x="5664" y="213831"/>
                        <a:pt x="10031" y="222429"/>
                        <a:pt x="13238" y="231504"/>
                      </a:cubicBezTo>
                      <a:cubicBezTo>
                        <a:pt x="17469" y="244605"/>
                        <a:pt x="20676" y="258047"/>
                        <a:pt x="25043" y="271080"/>
                      </a:cubicBezTo>
                      <a:cubicBezTo>
                        <a:pt x="30498" y="286501"/>
                        <a:pt x="32818" y="302856"/>
                        <a:pt x="31866" y="319186"/>
                      </a:cubicBezTo>
                      <a:cubicBezTo>
                        <a:pt x="31866" y="323552"/>
                        <a:pt x="31866" y="348254"/>
                        <a:pt x="31866" y="352620"/>
                      </a:cubicBezTo>
                      <a:cubicBezTo>
                        <a:pt x="31781" y="355898"/>
                        <a:pt x="34368" y="358624"/>
                        <a:pt x="37646" y="358710"/>
                      </a:cubicBezTo>
                      <a:cubicBezTo>
                        <a:pt x="38571" y="358734"/>
                        <a:pt x="39490" y="358542"/>
                        <a:pt x="40328" y="358148"/>
                      </a:cubicBezTo>
                      <a:cubicBezTo>
                        <a:pt x="42741" y="356505"/>
                        <a:pt x="44312" y="353886"/>
                        <a:pt x="44626" y="350983"/>
                      </a:cubicBezTo>
                      <a:cubicBezTo>
                        <a:pt x="45104" y="340952"/>
                        <a:pt x="44626" y="310452"/>
                        <a:pt x="44626" y="300285"/>
                      </a:cubicBezTo>
                      <a:lnTo>
                        <a:pt x="132649" y="300285"/>
                      </a:lnTo>
                      <a:cubicBezTo>
                        <a:pt x="132649" y="309360"/>
                        <a:pt x="132649" y="389808"/>
                        <a:pt x="132649" y="398474"/>
                      </a:cubicBezTo>
                      <a:cubicBezTo>
                        <a:pt x="132649" y="403933"/>
                        <a:pt x="134969" y="406662"/>
                        <a:pt x="139472" y="406662"/>
                      </a:cubicBezTo>
                      <a:cubicBezTo>
                        <a:pt x="143976" y="406662"/>
                        <a:pt x="146296" y="403865"/>
                        <a:pt x="146296" y="398406"/>
                      </a:cubicBezTo>
                      <a:cubicBezTo>
                        <a:pt x="146296" y="389126"/>
                        <a:pt x="146296" y="308132"/>
                        <a:pt x="146296" y="298852"/>
                      </a:cubicBezTo>
                      <a:cubicBezTo>
                        <a:pt x="146288" y="295792"/>
                        <a:pt x="146772" y="292751"/>
                        <a:pt x="147729" y="289845"/>
                      </a:cubicBezTo>
                      <a:cubicBezTo>
                        <a:pt x="153597" y="274014"/>
                        <a:pt x="159533" y="258252"/>
                        <a:pt x="165743" y="242558"/>
                      </a:cubicBezTo>
                      <a:cubicBezTo>
                        <a:pt x="166757" y="240157"/>
                        <a:pt x="168439" y="238097"/>
                        <a:pt x="170587" y="236622"/>
                      </a:cubicBezTo>
                      <a:cubicBezTo>
                        <a:pt x="185394" y="227274"/>
                        <a:pt x="199109" y="217038"/>
                        <a:pt x="204705" y="199502"/>
                      </a:cubicBezTo>
                      <a:cubicBezTo>
                        <a:pt x="207639" y="199502"/>
                        <a:pt x="210163" y="199502"/>
                        <a:pt x="212688" y="199502"/>
                      </a:cubicBezTo>
                      <a:cubicBezTo>
                        <a:pt x="228929" y="200088"/>
                        <a:pt x="244353" y="192376"/>
                        <a:pt x="253629" y="179032"/>
                      </a:cubicBezTo>
                      <a:cubicBezTo>
                        <a:pt x="264137" y="163611"/>
                        <a:pt x="274781" y="148258"/>
                        <a:pt x="285767" y="133110"/>
                      </a:cubicBezTo>
                      <a:cubicBezTo>
                        <a:pt x="290416" y="127354"/>
                        <a:pt x="292621" y="120004"/>
                        <a:pt x="291908" y="112640"/>
                      </a:cubicBezTo>
                      <a:cubicBezTo>
                        <a:pt x="291775" y="110686"/>
                        <a:pt x="291775" y="108725"/>
                        <a:pt x="291908" y="106772"/>
                      </a:cubicBezTo>
                      <a:lnTo>
                        <a:pt x="304941" y="106771"/>
                      </a:lnTo>
                      <a:cubicBezTo>
                        <a:pt x="307807" y="117894"/>
                        <a:pt x="311355" y="120418"/>
                        <a:pt x="322545" y="120418"/>
                      </a:cubicBezTo>
                      <a:cubicBezTo>
                        <a:pt x="344722" y="120418"/>
                        <a:pt x="366898" y="120418"/>
                        <a:pt x="389006" y="120418"/>
                      </a:cubicBezTo>
                      <a:cubicBezTo>
                        <a:pt x="396839" y="121624"/>
                        <a:pt x="404377" y="116927"/>
                        <a:pt x="406747" y="109364"/>
                      </a:cubicBezTo>
                      <a:lnTo>
                        <a:pt x="406747" y="28575"/>
                      </a:lnTo>
                      <a:cubicBezTo>
                        <a:pt x="403267" y="23389"/>
                        <a:pt x="399924" y="18681"/>
                        <a:pt x="392759" y="18681"/>
                      </a:cubicBezTo>
                      <a:close/>
                      <a:moveTo>
                        <a:pt x="238139" y="102200"/>
                      </a:moveTo>
                      <a:cubicBezTo>
                        <a:pt x="239163" y="103223"/>
                        <a:pt x="240323" y="104110"/>
                        <a:pt x="241824" y="105407"/>
                      </a:cubicBezTo>
                      <a:lnTo>
                        <a:pt x="214121" y="128538"/>
                      </a:lnTo>
                      <a:cubicBezTo>
                        <a:pt x="215622" y="118167"/>
                        <a:pt x="216850" y="109296"/>
                        <a:pt x="218147" y="100494"/>
                      </a:cubicBezTo>
                      <a:cubicBezTo>
                        <a:pt x="218410" y="99661"/>
                        <a:pt x="219001" y="98971"/>
                        <a:pt x="219784" y="98583"/>
                      </a:cubicBezTo>
                      <a:cubicBezTo>
                        <a:pt x="226140" y="97336"/>
                        <a:pt x="232732" y="98634"/>
                        <a:pt x="238140" y="102200"/>
                      </a:cubicBezTo>
                      <a:close/>
                      <a:moveTo>
                        <a:pt x="188942" y="50819"/>
                      </a:moveTo>
                      <a:cubicBezTo>
                        <a:pt x="203340" y="50819"/>
                        <a:pt x="217260" y="50819"/>
                        <a:pt x="231179" y="50819"/>
                      </a:cubicBezTo>
                      <a:cubicBezTo>
                        <a:pt x="232135" y="50819"/>
                        <a:pt x="233772" y="52457"/>
                        <a:pt x="233772" y="53344"/>
                      </a:cubicBezTo>
                      <a:cubicBezTo>
                        <a:pt x="233772" y="63784"/>
                        <a:pt x="233772" y="74292"/>
                        <a:pt x="233772" y="85005"/>
                      </a:cubicBezTo>
                      <a:lnTo>
                        <a:pt x="188806" y="85005"/>
                      </a:lnTo>
                      <a:close/>
                      <a:moveTo>
                        <a:pt x="129783" y="63920"/>
                      </a:moveTo>
                      <a:cubicBezTo>
                        <a:pt x="143908" y="60235"/>
                        <a:pt x="158100" y="57097"/>
                        <a:pt x="172839" y="53207"/>
                      </a:cubicBezTo>
                      <a:lnTo>
                        <a:pt x="172839" y="82685"/>
                      </a:lnTo>
                      <a:lnTo>
                        <a:pt x="151004" y="76680"/>
                      </a:lnTo>
                      <a:cubicBezTo>
                        <a:pt x="144180" y="74769"/>
                        <a:pt x="137016" y="73064"/>
                        <a:pt x="130124" y="70880"/>
                      </a:cubicBezTo>
                      <a:cubicBezTo>
                        <a:pt x="128240" y="70342"/>
                        <a:pt x="127149" y="68378"/>
                        <a:pt x="127687" y="66494"/>
                      </a:cubicBezTo>
                      <a:cubicBezTo>
                        <a:pt x="128024" y="65315"/>
                        <a:pt x="128945" y="64393"/>
                        <a:pt x="130124" y="64057"/>
                      </a:cubicBezTo>
                      <a:close/>
                      <a:moveTo>
                        <a:pt x="126440" y="83708"/>
                      </a:moveTo>
                      <a:lnTo>
                        <a:pt x="170451" y="95786"/>
                      </a:lnTo>
                      <a:lnTo>
                        <a:pt x="163627" y="111480"/>
                      </a:lnTo>
                      <a:lnTo>
                        <a:pt x="123301" y="96400"/>
                      </a:lnTo>
                      <a:cubicBezTo>
                        <a:pt x="124256" y="92169"/>
                        <a:pt x="125280" y="88280"/>
                        <a:pt x="126371" y="83708"/>
                      </a:cubicBezTo>
                      <a:close/>
                      <a:moveTo>
                        <a:pt x="65028" y="30212"/>
                      </a:moveTo>
                      <a:cubicBezTo>
                        <a:pt x="73859" y="24819"/>
                        <a:pt x="82970" y="19899"/>
                        <a:pt x="92322" y="15474"/>
                      </a:cubicBezTo>
                      <a:cubicBezTo>
                        <a:pt x="102421" y="10970"/>
                        <a:pt x="107470" y="13836"/>
                        <a:pt x="110404" y="24549"/>
                      </a:cubicBezTo>
                      <a:cubicBezTo>
                        <a:pt x="111496" y="28506"/>
                        <a:pt x="111974" y="32601"/>
                        <a:pt x="112793" y="37104"/>
                      </a:cubicBezTo>
                      <a:lnTo>
                        <a:pt x="61276" y="37104"/>
                      </a:lnTo>
                      <a:cubicBezTo>
                        <a:pt x="62777" y="34102"/>
                        <a:pt x="63323" y="31236"/>
                        <a:pt x="65028" y="30212"/>
                      </a:cubicBezTo>
                      <a:close/>
                      <a:moveTo>
                        <a:pt x="113748" y="50683"/>
                      </a:moveTo>
                      <a:cubicBezTo>
                        <a:pt x="113670" y="63323"/>
                        <a:pt x="112827" y="75946"/>
                        <a:pt x="111223" y="88485"/>
                      </a:cubicBezTo>
                      <a:cubicBezTo>
                        <a:pt x="108218" y="100103"/>
                        <a:pt x="96974" y="107619"/>
                        <a:pt x="85089" y="105953"/>
                      </a:cubicBezTo>
                      <a:cubicBezTo>
                        <a:pt x="73415" y="105082"/>
                        <a:pt x="63955" y="96135"/>
                        <a:pt x="62435" y="84527"/>
                      </a:cubicBezTo>
                      <a:cubicBezTo>
                        <a:pt x="61412" y="73473"/>
                        <a:pt x="62436" y="62214"/>
                        <a:pt x="62436" y="50410"/>
                      </a:cubicBezTo>
                      <a:close/>
                      <a:moveTo>
                        <a:pt x="137494" y="277494"/>
                      </a:moveTo>
                      <a:cubicBezTo>
                        <a:pt x="133127" y="288616"/>
                        <a:pt x="136197" y="286569"/>
                        <a:pt x="124324" y="286569"/>
                      </a:cubicBezTo>
                      <a:cubicBezTo>
                        <a:pt x="98873" y="286569"/>
                        <a:pt x="73421" y="286569"/>
                        <a:pt x="48038" y="286569"/>
                      </a:cubicBezTo>
                      <a:cubicBezTo>
                        <a:pt x="44844" y="287118"/>
                        <a:pt x="41810" y="284973"/>
                        <a:pt x="41261" y="281779"/>
                      </a:cubicBezTo>
                      <a:cubicBezTo>
                        <a:pt x="41243" y="281671"/>
                        <a:pt x="41227" y="281561"/>
                        <a:pt x="41215" y="281452"/>
                      </a:cubicBezTo>
                      <a:cubicBezTo>
                        <a:pt x="37871" y="269101"/>
                        <a:pt x="34391" y="256887"/>
                        <a:pt x="30365" y="243513"/>
                      </a:cubicBezTo>
                      <a:cubicBezTo>
                        <a:pt x="40841" y="247598"/>
                        <a:pt x="52130" y="249164"/>
                        <a:pt x="63323" y="248085"/>
                      </a:cubicBezTo>
                      <a:lnTo>
                        <a:pt x="148479" y="248085"/>
                      </a:lnTo>
                      <a:cubicBezTo>
                        <a:pt x="145136" y="257433"/>
                        <a:pt x="141383" y="267532"/>
                        <a:pt x="137494" y="277562"/>
                      </a:cubicBezTo>
                      <a:close/>
                      <a:moveTo>
                        <a:pt x="192559" y="185992"/>
                      </a:moveTo>
                      <a:cubicBezTo>
                        <a:pt x="191126" y="206872"/>
                        <a:pt x="176592" y="216356"/>
                        <a:pt x="161376" y="225977"/>
                      </a:cubicBezTo>
                      <a:cubicBezTo>
                        <a:pt x="150039" y="232915"/>
                        <a:pt x="136837" y="236179"/>
                        <a:pt x="123574" y="235325"/>
                      </a:cubicBezTo>
                      <a:cubicBezTo>
                        <a:pt x="100829" y="234734"/>
                        <a:pt x="78311" y="234734"/>
                        <a:pt x="56021" y="235325"/>
                      </a:cubicBezTo>
                      <a:cubicBezTo>
                        <a:pt x="34186" y="235803"/>
                        <a:pt x="25248" y="226455"/>
                        <a:pt x="18561" y="210010"/>
                      </a:cubicBezTo>
                      <a:cubicBezTo>
                        <a:pt x="8115" y="185830"/>
                        <a:pt x="11449" y="157904"/>
                        <a:pt x="27295" y="136863"/>
                      </a:cubicBezTo>
                      <a:cubicBezTo>
                        <a:pt x="28295" y="135350"/>
                        <a:pt x="29514" y="133994"/>
                        <a:pt x="30911" y="132837"/>
                      </a:cubicBezTo>
                      <a:cubicBezTo>
                        <a:pt x="41351" y="125263"/>
                        <a:pt x="51791" y="117825"/>
                        <a:pt x="62436" y="110183"/>
                      </a:cubicBezTo>
                      <a:cubicBezTo>
                        <a:pt x="72098" y="118308"/>
                        <a:pt x="85179" y="121073"/>
                        <a:pt x="97303" y="117552"/>
                      </a:cubicBezTo>
                      <a:cubicBezTo>
                        <a:pt x="102667" y="115428"/>
                        <a:pt x="107828" y="112824"/>
                        <a:pt x="112724" y="109774"/>
                      </a:cubicBezTo>
                      <a:cubicBezTo>
                        <a:pt x="114294" y="108955"/>
                        <a:pt x="116477" y="107795"/>
                        <a:pt x="117842" y="108273"/>
                      </a:cubicBezTo>
                      <a:cubicBezTo>
                        <a:pt x="131148" y="113049"/>
                        <a:pt x="144317" y="118098"/>
                        <a:pt x="157964" y="123216"/>
                      </a:cubicBezTo>
                      <a:cubicBezTo>
                        <a:pt x="157418" y="124785"/>
                        <a:pt x="157009" y="126150"/>
                        <a:pt x="156463" y="127378"/>
                      </a:cubicBezTo>
                      <a:cubicBezTo>
                        <a:pt x="150049" y="141981"/>
                        <a:pt x="143566" y="156514"/>
                        <a:pt x="137221" y="171185"/>
                      </a:cubicBezTo>
                      <a:cubicBezTo>
                        <a:pt x="136514" y="174021"/>
                        <a:pt x="133765" y="175854"/>
                        <a:pt x="130875" y="175415"/>
                      </a:cubicBezTo>
                      <a:cubicBezTo>
                        <a:pt x="119138" y="174733"/>
                        <a:pt x="107266" y="174665"/>
                        <a:pt x="95529" y="173914"/>
                      </a:cubicBezTo>
                      <a:cubicBezTo>
                        <a:pt x="92605" y="173472"/>
                        <a:pt x="89863" y="172219"/>
                        <a:pt x="87614" y="170298"/>
                      </a:cubicBezTo>
                      <a:cubicBezTo>
                        <a:pt x="84446" y="167563"/>
                        <a:pt x="81438" y="164646"/>
                        <a:pt x="78607" y="161564"/>
                      </a:cubicBezTo>
                      <a:cubicBezTo>
                        <a:pt x="76274" y="158605"/>
                        <a:pt x="71983" y="158097"/>
                        <a:pt x="69024" y="160431"/>
                      </a:cubicBezTo>
                      <a:cubicBezTo>
                        <a:pt x="68845" y="160573"/>
                        <a:pt x="68673" y="160723"/>
                        <a:pt x="68508" y="160882"/>
                      </a:cubicBezTo>
                      <a:cubicBezTo>
                        <a:pt x="65884" y="163204"/>
                        <a:pt x="65639" y="167215"/>
                        <a:pt x="67961" y="169839"/>
                      </a:cubicBezTo>
                      <a:cubicBezTo>
                        <a:pt x="68323" y="170248"/>
                        <a:pt x="68736" y="170609"/>
                        <a:pt x="69191" y="170912"/>
                      </a:cubicBezTo>
                      <a:cubicBezTo>
                        <a:pt x="69589" y="171265"/>
                        <a:pt x="69954" y="171653"/>
                        <a:pt x="70283" y="172072"/>
                      </a:cubicBezTo>
                      <a:cubicBezTo>
                        <a:pt x="78307" y="183829"/>
                        <a:pt x="92386" y="189912"/>
                        <a:pt x="106447" y="187698"/>
                      </a:cubicBezTo>
                      <a:cubicBezTo>
                        <a:pt x="116417" y="187244"/>
                        <a:pt x="126408" y="187541"/>
                        <a:pt x="136334" y="188585"/>
                      </a:cubicBezTo>
                      <a:cubicBezTo>
                        <a:pt x="141125" y="189390"/>
                        <a:pt x="145750" y="186444"/>
                        <a:pt x="147047" y="181762"/>
                      </a:cubicBezTo>
                      <a:cubicBezTo>
                        <a:pt x="153870" y="165249"/>
                        <a:pt x="161444" y="148872"/>
                        <a:pt x="168677" y="132496"/>
                      </a:cubicBezTo>
                      <a:cubicBezTo>
                        <a:pt x="169291" y="131131"/>
                        <a:pt x="169973" y="129903"/>
                        <a:pt x="170860" y="128061"/>
                      </a:cubicBezTo>
                      <a:lnTo>
                        <a:pt x="199109" y="138637"/>
                      </a:lnTo>
                      <a:cubicBezTo>
                        <a:pt x="196789" y="154877"/>
                        <a:pt x="193582" y="170366"/>
                        <a:pt x="192559" y="186060"/>
                      </a:cubicBezTo>
                      <a:close/>
                      <a:moveTo>
                        <a:pt x="201088" y="125400"/>
                      </a:moveTo>
                      <a:lnTo>
                        <a:pt x="175978" y="116393"/>
                      </a:lnTo>
                      <a:cubicBezTo>
                        <a:pt x="178502" y="110797"/>
                        <a:pt x="180481" y="105748"/>
                        <a:pt x="182801" y="100971"/>
                      </a:cubicBezTo>
                      <a:cubicBezTo>
                        <a:pt x="183673" y="99730"/>
                        <a:pt x="185044" y="98932"/>
                        <a:pt x="186554" y="98788"/>
                      </a:cubicBezTo>
                      <a:cubicBezTo>
                        <a:pt x="192354" y="98788"/>
                        <a:pt x="198086" y="98788"/>
                        <a:pt x="204841" y="98788"/>
                      </a:cubicBezTo>
                      <a:cubicBezTo>
                        <a:pt x="204022" y="107522"/>
                        <a:pt x="202453" y="116393"/>
                        <a:pt x="201088" y="125468"/>
                      </a:cubicBezTo>
                      <a:close/>
                      <a:moveTo>
                        <a:pt x="252810" y="156241"/>
                      </a:moveTo>
                      <a:cubicBezTo>
                        <a:pt x="248135" y="163142"/>
                        <a:pt x="243101" y="169793"/>
                        <a:pt x="237730" y="176166"/>
                      </a:cubicBezTo>
                      <a:cubicBezTo>
                        <a:pt x="229405" y="185514"/>
                        <a:pt x="218010" y="186265"/>
                        <a:pt x="205660" y="185924"/>
                      </a:cubicBezTo>
                      <a:cubicBezTo>
                        <a:pt x="207707" y="171867"/>
                        <a:pt x="209617" y="158289"/>
                        <a:pt x="211255" y="146825"/>
                      </a:cubicBezTo>
                      <a:lnTo>
                        <a:pt x="232271" y="131131"/>
                      </a:lnTo>
                      <a:cubicBezTo>
                        <a:pt x="239095" y="137955"/>
                        <a:pt x="245918" y="144778"/>
                        <a:pt x="252742" y="151602"/>
                      </a:cubicBezTo>
                      <a:cubicBezTo>
                        <a:pt x="253590" y="153050"/>
                        <a:pt x="253616" y="154837"/>
                        <a:pt x="252810" y="156310"/>
                      </a:cubicBezTo>
                      <a:close/>
                      <a:moveTo>
                        <a:pt x="274372" y="124922"/>
                      </a:moveTo>
                      <a:cubicBezTo>
                        <a:pt x="270210" y="130312"/>
                        <a:pt x="266661" y="136249"/>
                        <a:pt x="262977" y="141639"/>
                      </a:cubicBezTo>
                      <a:lnTo>
                        <a:pt x="243121" y="121510"/>
                      </a:lnTo>
                      <a:cubicBezTo>
                        <a:pt x="248128" y="116365"/>
                        <a:pt x="253689" y="111788"/>
                        <a:pt x="259701" y="107863"/>
                      </a:cubicBezTo>
                      <a:cubicBezTo>
                        <a:pt x="265444" y="105937"/>
                        <a:pt x="271454" y="104924"/>
                        <a:pt x="277511" y="104861"/>
                      </a:cubicBezTo>
                      <a:cubicBezTo>
                        <a:pt x="279409" y="111710"/>
                        <a:pt x="278265" y="119044"/>
                        <a:pt x="274372" y="124990"/>
                      </a:cubicBezTo>
                      <a:close/>
                      <a:moveTo>
                        <a:pt x="304600" y="93398"/>
                      </a:moveTo>
                      <a:lnTo>
                        <a:pt x="245509" y="93398"/>
                      </a:lnTo>
                      <a:lnTo>
                        <a:pt x="245509" y="42972"/>
                      </a:lnTo>
                      <a:lnTo>
                        <a:pt x="304600" y="42972"/>
                      </a:lnTo>
                      <a:close/>
                      <a:moveTo>
                        <a:pt x="392895" y="106703"/>
                      </a:moveTo>
                      <a:lnTo>
                        <a:pt x="318520" y="106703"/>
                      </a:lnTo>
                      <a:lnTo>
                        <a:pt x="318520" y="32259"/>
                      </a:lnTo>
                      <a:lnTo>
                        <a:pt x="392895" y="32259"/>
                      </a:lnTo>
                      <a:close/>
                    </a:path>
                  </a:pathLst>
                </a:custGeom>
                <a:solidFill>
                  <a:srgbClr val="FFFFFF"/>
                </a:solidFill>
                <a:ln w="1227" cap="flat">
                  <a:solidFill>
                    <a:srgbClr val="D75C37"/>
                  </a:solidFill>
                  <a:prstDash val="solid"/>
                  <a:miter/>
                </a:ln>
              </p:spPr>
              <p:txBody>
                <a:bodyPr rtlCol="0" anchor="ctr"/>
                <a:lstStyle/>
                <a:p>
                  <a:endParaRPr lang="en-SG" sz="1059"/>
                </a:p>
              </p:txBody>
            </p:sp>
          </p:grpSp>
          <p:sp>
            <p:nvSpPr>
              <p:cNvPr id="16" name="TextBox 15">
                <a:extLst>
                  <a:ext uri="{FF2B5EF4-FFF2-40B4-BE49-F238E27FC236}">
                    <a16:creationId xmlns:a16="http://schemas.microsoft.com/office/drawing/2014/main" xmlns="" id="{759C501E-AAFD-4CA0-9F6A-8124E158C53B}"/>
                  </a:ext>
                </a:extLst>
              </p:cNvPr>
              <p:cNvSpPr txBox="1"/>
              <p:nvPr/>
            </p:nvSpPr>
            <p:spPr>
              <a:xfrm>
                <a:off x="1508061" y="3256458"/>
                <a:ext cx="915415" cy="422343"/>
              </a:xfrm>
              <a:prstGeom prst="rect">
                <a:avLst/>
              </a:prstGeom>
              <a:noFill/>
            </p:spPr>
            <p:txBody>
              <a:bodyPr wrap="square" rtlCol="0">
                <a:spAutoFit/>
              </a:bodyPr>
              <a:lstStyle/>
              <a:p>
                <a:pPr algn="ctr"/>
                <a:r>
                  <a:rPr lang="en-US" sz="900" b="1" dirty="0">
                    <a:solidFill>
                      <a:srgbClr val="D75C37"/>
                    </a:solidFill>
                    <a:latin typeface="Arsenal" panose="00000500000000000000" pitchFamily="2" charset="0"/>
                  </a:rPr>
                  <a:t>Leadership &amp; Foresight</a:t>
                </a:r>
                <a:endParaRPr lang="en-SG" sz="900" b="1" dirty="0">
                  <a:solidFill>
                    <a:srgbClr val="D75C37"/>
                  </a:solidFill>
                  <a:latin typeface="Arsenal" panose="00000500000000000000" pitchFamily="2" charset="0"/>
                </a:endParaRPr>
              </a:p>
            </p:txBody>
          </p:sp>
          <p:sp>
            <p:nvSpPr>
              <p:cNvPr id="17" name="Freeform: Shape 16">
                <a:extLst>
                  <a:ext uri="{FF2B5EF4-FFF2-40B4-BE49-F238E27FC236}">
                    <a16:creationId xmlns:a16="http://schemas.microsoft.com/office/drawing/2014/main" xmlns="" id="{B949064C-1062-4E3E-BFEE-8698947BF2AD}"/>
                  </a:ext>
                </a:extLst>
              </p:cNvPr>
              <p:cNvSpPr/>
              <p:nvPr/>
            </p:nvSpPr>
            <p:spPr>
              <a:xfrm>
                <a:off x="2606925" y="3709612"/>
                <a:ext cx="978619" cy="3348651"/>
              </a:xfrm>
              <a:custGeom>
                <a:avLst/>
                <a:gdLst>
                  <a:gd name="connsiteX0" fmla="*/ 96484 w 978619"/>
                  <a:gd name="connsiteY0" fmla="*/ 273 h 2899011"/>
                  <a:gd name="connsiteX1" fmla="*/ 0 w 978619"/>
                  <a:gd name="connsiteY1" fmla="*/ 84543 h 2899011"/>
                  <a:gd name="connsiteX2" fmla="*/ 0 w 978619"/>
                  <a:gd name="connsiteY2" fmla="*/ 2814810 h 2899011"/>
                  <a:gd name="connsiteX3" fmla="*/ 96484 w 978619"/>
                  <a:gd name="connsiteY3" fmla="*/ 2899012 h 2899011"/>
                  <a:gd name="connsiteX4" fmla="*/ 882136 w 978619"/>
                  <a:gd name="connsiteY4" fmla="*/ 2899012 h 2899011"/>
                  <a:gd name="connsiteX5" fmla="*/ 978619 w 978619"/>
                  <a:gd name="connsiteY5" fmla="*/ 2814810 h 2899011"/>
                  <a:gd name="connsiteX6" fmla="*/ 978619 w 978619"/>
                  <a:gd name="connsiteY6" fmla="*/ 84270 h 2899011"/>
                  <a:gd name="connsiteX7" fmla="*/ 882136 w 978619"/>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619" h="2899011">
                    <a:moveTo>
                      <a:pt x="96484" y="273"/>
                    </a:moveTo>
                    <a:cubicBezTo>
                      <a:pt x="43192" y="273"/>
                      <a:pt x="0" y="38007"/>
                      <a:pt x="0" y="84543"/>
                    </a:cubicBezTo>
                    <a:lnTo>
                      <a:pt x="0" y="2814810"/>
                    </a:lnTo>
                    <a:cubicBezTo>
                      <a:pt x="0" y="2861346"/>
                      <a:pt x="43192" y="2899012"/>
                      <a:pt x="96484" y="2899012"/>
                    </a:cubicBezTo>
                    <a:lnTo>
                      <a:pt x="882136" y="2899012"/>
                    </a:lnTo>
                    <a:cubicBezTo>
                      <a:pt x="935359" y="2899012"/>
                      <a:pt x="978619" y="2861346"/>
                      <a:pt x="978619" y="2814810"/>
                    </a:cubicBezTo>
                    <a:lnTo>
                      <a:pt x="978619" y="84270"/>
                    </a:lnTo>
                    <a:cubicBezTo>
                      <a:pt x="978619" y="37734"/>
                      <a:pt x="935359" y="0"/>
                      <a:pt x="882136" y="0"/>
                    </a:cubicBezTo>
                    <a:close/>
                  </a:path>
                </a:pathLst>
              </a:custGeom>
              <a:solidFill>
                <a:srgbClr val="344F73">
                  <a:alpha val="10000"/>
                </a:srgbClr>
              </a:solidFill>
              <a:ln w="6816" cap="flat">
                <a:noFill/>
                <a:prstDash val="solid"/>
                <a:miter/>
              </a:ln>
            </p:spPr>
            <p:txBody>
              <a:bodyPr rtlCol="0" anchor="ctr"/>
              <a:lstStyle/>
              <a:p>
                <a:endParaRPr lang="en-SG" sz="1059"/>
              </a:p>
            </p:txBody>
          </p:sp>
          <p:sp>
            <p:nvSpPr>
              <p:cNvPr id="18" name="object 21">
                <a:extLst>
                  <a:ext uri="{FF2B5EF4-FFF2-40B4-BE49-F238E27FC236}">
                    <a16:creationId xmlns:a16="http://schemas.microsoft.com/office/drawing/2014/main" xmlns="" id="{B4CAC5CB-5DFE-48D1-A13C-3510010609D6}"/>
                  </a:ext>
                </a:extLst>
              </p:cNvPr>
              <p:cNvSpPr txBox="1"/>
              <p:nvPr/>
            </p:nvSpPr>
            <p:spPr>
              <a:xfrm>
                <a:off x="2682193" y="3749165"/>
                <a:ext cx="840826" cy="1207449"/>
              </a:xfrm>
              <a:prstGeom prst="rect">
                <a:avLst/>
              </a:prstGeom>
            </p:spPr>
            <p:txBody>
              <a:bodyPr vert="horz" wrap="square" lIns="0" tIns="9361" rIns="0" bIns="0" rtlCol="0">
                <a:spAutoFit/>
              </a:bodyPr>
              <a:lstStyle/>
              <a:p>
                <a:pPr algn="ctr">
                  <a:spcBef>
                    <a:spcPts val="442"/>
                  </a:spcBef>
                  <a:spcAft>
                    <a:spcPts val="442"/>
                  </a:spcAft>
                </a:pPr>
                <a:r>
                  <a:rPr sz="800" dirty="0">
                    <a:solidFill>
                      <a:srgbClr val="231F20"/>
                    </a:solidFill>
                    <a:latin typeface="Arsenal"/>
                    <a:cs typeface="Arsenal"/>
                  </a:rPr>
                  <a:t>Rule</a:t>
                </a:r>
                <a:r>
                  <a:rPr sz="800" spc="-15" dirty="0">
                    <a:solidFill>
                      <a:srgbClr val="231F20"/>
                    </a:solidFill>
                    <a:latin typeface="Arsenal"/>
                    <a:cs typeface="Arsenal"/>
                  </a:rPr>
                  <a:t> </a:t>
                </a:r>
                <a:r>
                  <a:rPr sz="800" dirty="0">
                    <a:solidFill>
                      <a:srgbClr val="231F20"/>
                    </a:solidFill>
                    <a:latin typeface="Arsenal"/>
                    <a:cs typeface="Arsenal"/>
                  </a:rPr>
                  <a:t>of</a:t>
                </a:r>
                <a:r>
                  <a:rPr sz="800" spc="-11" dirty="0">
                    <a:solidFill>
                      <a:srgbClr val="231F20"/>
                    </a:solidFill>
                    <a:latin typeface="Arsenal"/>
                    <a:cs typeface="Arsenal"/>
                  </a:rPr>
                  <a:t> </a:t>
                </a:r>
                <a:r>
                  <a:rPr sz="800" spc="-4" dirty="0">
                    <a:solidFill>
                      <a:srgbClr val="231F20"/>
                    </a:solidFill>
                    <a:latin typeface="Arsenal"/>
                    <a:cs typeface="Arsenal"/>
                  </a:rPr>
                  <a:t>Law</a:t>
                </a:r>
                <a:endParaRPr sz="800" dirty="0">
                  <a:latin typeface="Arsenal"/>
                  <a:cs typeface="Arsenal"/>
                </a:endParaRPr>
              </a:p>
              <a:p>
                <a:pPr marL="59911" marR="54295" algn="ctr">
                  <a:spcBef>
                    <a:spcPts val="442"/>
                  </a:spcBef>
                  <a:spcAft>
                    <a:spcPts val="442"/>
                  </a:spcAft>
                </a:pPr>
                <a:r>
                  <a:rPr sz="800" dirty="0">
                    <a:solidFill>
                      <a:srgbClr val="231F20"/>
                    </a:solidFill>
                    <a:latin typeface="Arsenal"/>
                    <a:cs typeface="Arsenal"/>
                  </a:rPr>
                  <a:t>Quality of  Judiciary</a:t>
                </a:r>
                <a:endParaRPr sz="800" dirty="0">
                  <a:latin typeface="Arsenal"/>
                  <a:cs typeface="Arsenal"/>
                </a:endParaRPr>
              </a:p>
              <a:p>
                <a:pPr algn="ctr">
                  <a:spcBef>
                    <a:spcPts val="442"/>
                  </a:spcBef>
                  <a:spcAft>
                    <a:spcPts val="442"/>
                  </a:spcAft>
                </a:pPr>
                <a:r>
                  <a:rPr sz="800" spc="-7" dirty="0">
                    <a:solidFill>
                      <a:srgbClr val="231F20"/>
                    </a:solidFill>
                    <a:latin typeface="Arsenal"/>
                    <a:cs typeface="Arsenal"/>
                  </a:rPr>
                  <a:t>Transparency</a:t>
                </a:r>
                <a:endParaRPr sz="800" dirty="0">
                  <a:latin typeface="Arsenal"/>
                  <a:cs typeface="Arsenal"/>
                </a:endParaRPr>
              </a:p>
              <a:p>
                <a:pPr marL="45870" marR="40253" algn="ctr">
                  <a:spcBef>
                    <a:spcPts val="442"/>
                  </a:spcBef>
                  <a:spcAft>
                    <a:spcPts val="442"/>
                  </a:spcAft>
                </a:pPr>
                <a:r>
                  <a:rPr lang="en-SG" sz="800" dirty="0">
                    <a:solidFill>
                      <a:srgbClr val="231F20"/>
                    </a:solidFill>
                    <a:latin typeface="Arsenal"/>
                    <a:cs typeface="Arsenal"/>
                  </a:rPr>
                  <a:t>Regulatory Governance</a:t>
                </a:r>
                <a:endParaRPr sz="800" dirty="0">
                  <a:latin typeface="Arsenal"/>
                  <a:cs typeface="Arsenal"/>
                </a:endParaRPr>
              </a:p>
            </p:txBody>
          </p:sp>
          <p:grpSp>
            <p:nvGrpSpPr>
              <p:cNvPr id="19" name="Group 18">
                <a:extLst>
                  <a:ext uri="{FF2B5EF4-FFF2-40B4-BE49-F238E27FC236}">
                    <a16:creationId xmlns:a16="http://schemas.microsoft.com/office/drawing/2014/main" xmlns="" id="{FCE3DB5C-7CA2-4A65-9156-E0E57984B9D6}"/>
                  </a:ext>
                </a:extLst>
              </p:cNvPr>
              <p:cNvGrpSpPr/>
              <p:nvPr/>
            </p:nvGrpSpPr>
            <p:grpSpPr>
              <a:xfrm>
                <a:off x="2825779" y="2662652"/>
                <a:ext cx="553654" cy="553654"/>
                <a:chOff x="2823510" y="2732858"/>
                <a:chExt cx="553654" cy="553654"/>
              </a:xfrm>
            </p:grpSpPr>
            <p:sp>
              <p:nvSpPr>
                <p:cNvPr id="56" name="Freeform: Shape 55">
                  <a:extLst>
                    <a:ext uri="{FF2B5EF4-FFF2-40B4-BE49-F238E27FC236}">
                      <a16:creationId xmlns:a16="http://schemas.microsoft.com/office/drawing/2014/main" xmlns="" id="{EF92569F-06FF-4968-98CA-CEDC96E50625}"/>
                    </a:ext>
                  </a:extLst>
                </p:cNvPr>
                <p:cNvSpPr/>
                <p:nvPr/>
              </p:nvSpPr>
              <p:spPr>
                <a:xfrm>
                  <a:off x="2823510" y="2732858"/>
                  <a:ext cx="553654" cy="553654"/>
                </a:xfrm>
                <a:custGeom>
                  <a:avLst/>
                  <a:gdLst>
                    <a:gd name="connsiteX0" fmla="*/ 553655 w 553654"/>
                    <a:gd name="connsiteY0" fmla="*/ 276827 h 553654"/>
                    <a:gd name="connsiteX1" fmla="*/ 276827 w 553654"/>
                    <a:gd name="connsiteY1" fmla="*/ 553655 h 553654"/>
                    <a:gd name="connsiteX2" fmla="*/ 0 w 553654"/>
                    <a:gd name="connsiteY2" fmla="*/ 276827 h 553654"/>
                    <a:gd name="connsiteX3" fmla="*/ 276827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7" y="553655"/>
                      </a:cubicBezTo>
                      <a:cubicBezTo>
                        <a:pt x="123940" y="553655"/>
                        <a:pt x="0" y="429715"/>
                        <a:pt x="0" y="276827"/>
                      </a:cubicBezTo>
                      <a:cubicBezTo>
                        <a:pt x="0" y="123940"/>
                        <a:pt x="123940" y="0"/>
                        <a:pt x="276827" y="0"/>
                      </a:cubicBezTo>
                      <a:cubicBezTo>
                        <a:pt x="429715" y="0"/>
                        <a:pt x="553655" y="123940"/>
                        <a:pt x="553655" y="276827"/>
                      </a:cubicBezTo>
                      <a:close/>
                    </a:path>
                  </a:pathLst>
                </a:custGeom>
                <a:solidFill>
                  <a:srgbClr val="344F73"/>
                </a:solidFill>
                <a:ln w="6816" cap="flat">
                  <a:noFill/>
                  <a:prstDash val="solid"/>
                  <a:miter/>
                </a:ln>
              </p:spPr>
              <p:txBody>
                <a:bodyPr rtlCol="0" anchor="ctr"/>
                <a:lstStyle/>
                <a:p>
                  <a:endParaRPr lang="en-SG" sz="1059"/>
                </a:p>
              </p:txBody>
            </p:sp>
            <p:sp>
              <p:nvSpPr>
                <p:cNvPr id="57" name="Freeform: Shape 56">
                  <a:extLst>
                    <a:ext uri="{FF2B5EF4-FFF2-40B4-BE49-F238E27FC236}">
                      <a16:creationId xmlns:a16="http://schemas.microsoft.com/office/drawing/2014/main" xmlns="" id="{6DEEBF0A-369A-4DC3-A81A-D10BEE35785D}"/>
                    </a:ext>
                  </a:extLst>
                </p:cNvPr>
                <p:cNvSpPr/>
                <p:nvPr/>
              </p:nvSpPr>
              <p:spPr>
                <a:xfrm>
                  <a:off x="2933436" y="2843057"/>
                  <a:ext cx="333325" cy="333530"/>
                </a:xfrm>
                <a:custGeom>
                  <a:avLst/>
                  <a:gdLst>
                    <a:gd name="connsiteX0" fmla="*/ 80790 w 333325"/>
                    <a:gd name="connsiteY0" fmla="*/ 333530 h 333530"/>
                    <a:gd name="connsiteX1" fmla="*/ 80790 w 333325"/>
                    <a:gd name="connsiteY1" fmla="*/ 327526 h 333530"/>
                    <a:gd name="connsiteX2" fmla="*/ 118387 w 333325"/>
                    <a:gd name="connsiteY2" fmla="*/ 282218 h 333530"/>
                    <a:gd name="connsiteX3" fmla="*/ 121116 w 333325"/>
                    <a:gd name="connsiteY3" fmla="*/ 281740 h 333530"/>
                    <a:gd name="connsiteX4" fmla="*/ 121594 w 333325"/>
                    <a:gd name="connsiteY4" fmla="*/ 279011 h 333530"/>
                    <a:gd name="connsiteX5" fmla="*/ 157690 w 333325"/>
                    <a:gd name="connsiteY5" fmla="*/ 242301 h 333530"/>
                    <a:gd name="connsiteX6" fmla="*/ 160897 w 333325"/>
                    <a:gd name="connsiteY6" fmla="*/ 241687 h 333530"/>
                    <a:gd name="connsiteX7" fmla="*/ 160897 w 333325"/>
                    <a:gd name="connsiteY7" fmla="*/ 92253 h 333530"/>
                    <a:gd name="connsiteX8" fmla="*/ 158236 w 333325"/>
                    <a:gd name="connsiteY8" fmla="*/ 91298 h 333530"/>
                    <a:gd name="connsiteX9" fmla="*/ 142337 w 333325"/>
                    <a:gd name="connsiteY9" fmla="*/ 75467 h 333530"/>
                    <a:gd name="connsiteX10" fmla="*/ 141382 w 333325"/>
                    <a:gd name="connsiteY10" fmla="*/ 72806 h 333530"/>
                    <a:gd name="connsiteX11" fmla="*/ 65096 w 333325"/>
                    <a:gd name="connsiteY11" fmla="*/ 72806 h 333530"/>
                    <a:gd name="connsiteX12" fmla="*/ 112178 w 333325"/>
                    <a:gd name="connsiteY12" fmla="*/ 185734 h 333530"/>
                    <a:gd name="connsiteX13" fmla="*/ 112178 w 333325"/>
                    <a:gd name="connsiteY13" fmla="*/ 186963 h 333530"/>
                    <a:gd name="connsiteX14" fmla="*/ 66119 w 333325"/>
                    <a:gd name="connsiteY14" fmla="*/ 233021 h 333530"/>
                    <a:gd name="connsiteX15" fmla="*/ 46058 w 333325"/>
                    <a:gd name="connsiteY15" fmla="*/ 233021 h 333530"/>
                    <a:gd name="connsiteX16" fmla="*/ 0 w 333325"/>
                    <a:gd name="connsiteY16" fmla="*/ 186963 h 333530"/>
                    <a:gd name="connsiteX17" fmla="*/ 0 w 333325"/>
                    <a:gd name="connsiteY17" fmla="*/ 185734 h 333530"/>
                    <a:gd name="connsiteX18" fmla="*/ 47082 w 333325"/>
                    <a:gd name="connsiteY18" fmla="*/ 72806 h 333530"/>
                    <a:gd name="connsiteX19" fmla="*/ 19788 w 333325"/>
                    <a:gd name="connsiteY19" fmla="*/ 72806 h 333530"/>
                    <a:gd name="connsiteX20" fmla="*/ 19788 w 333325"/>
                    <a:gd name="connsiteY20" fmla="*/ 60797 h 333530"/>
                    <a:gd name="connsiteX21" fmla="*/ 141177 w 333325"/>
                    <a:gd name="connsiteY21" fmla="*/ 60797 h 333530"/>
                    <a:gd name="connsiteX22" fmla="*/ 142133 w 333325"/>
                    <a:gd name="connsiteY22" fmla="*/ 58136 h 333530"/>
                    <a:gd name="connsiteX23" fmla="*/ 158031 w 333325"/>
                    <a:gd name="connsiteY23" fmla="*/ 42237 h 333530"/>
                    <a:gd name="connsiteX24" fmla="*/ 160692 w 333325"/>
                    <a:gd name="connsiteY24" fmla="*/ 41282 h 333530"/>
                    <a:gd name="connsiteX25" fmla="*/ 160692 w 333325"/>
                    <a:gd name="connsiteY25" fmla="*/ 0 h 333530"/>
                    <a:gd name="connsiteX26" fmla="*/ 172702 w 333325"/>
                    <a:gd name="connsiteY26" fmla="*/ 0 h 333530"/>
                    <a:gd name="connsiteX27" fmla="*/ 172702 w 333325"/>
                    <a:gd name="connsiteY27" fmla="*/ 41282 h 333530"/>
                    <a:gd name="connsiteX28" fmla="*/ 175363 w 333325"/>
                    <a:gd name="connsiteY28" fmla="*/ 42237 h 333530"/>
                    <a:gd name="connsiteX29" fmla="*/ 191193 w 333325"/>
                    <a:gd name="connsiteY29" fmla="*/ 58136 h 333530"/>
                    <a:gd name="connsiteX30" fmla="*/ 192148 w 333325"/>
                    <a:gd name="connsiteY30" fmla="*/ 60797 h 333530"/>
                    <a:gd name="connsiteX31" fmla="*/ 313538 w 333325"/>
                    <a:gd name="connsiteY31" fmla="*/ 60797 h 333530"/>
                    <a:gd name="connsiteX32" fmla="*/ 313538 w 333325"/>
                    <a:gd name="connsiteY32" fmla="*/ 72806 h 333530"/>
                    <a:gd name="connsiteX33" fmla="*/ 286244 w 333325"/>
                    <a:gd name="connsiteY33" fmla="*/ 72806 h 333530"/>
                    <a:gd name="connsiteX34" fmla="*/ 333326 w 333325"/>
                    <a:gd name="connsiteY34" fmla="*/ 185734 h 333530"/>
                    <a:gd name="connsiteX35" fmla="*/ 333326 w 333325"/>
                    <a:gd name="connsiteY35" fmla="*/ 186963 h 333530"/>
                    <a:gd name="connsiteX36" fmla="*/ 287267 w 333325"/>
                    <a:gd name="connsiteY36" fmla="*/ 233021 h 333530"/>
                    <a:gd name="connsiteX37" fmla="*/ 267206 w 333325"/>
                    <a:gd name="connsiteY37" fmla="*/ 233021 h 333530"/>
                    <a:gd name="connsiteX38" fmla="*/ 221148 w 333325"/>
                    <a:gd name="connsiteY38" fmla="*/ 186963 h 333530"/>
                    <a:gd name="connsiteX39" fmla="*/ 221148 w 333325"/>
                    <a:gd name="connsiteY39" fmla="*/ 185734 h 333530"/>
                    <a:gd name="connsiteX40" fmla="*/ 268230 w 333325"/>
                    <a:gd name="connsiteY40" fmla="*/ 72806 h 333530"/>
                    <a:gd name="connsiteX41" fmla="*/ 192353 w 333325"/>
                    <a:gd name="connsiteY41" fmla="*/ 72806 h 333530"/>
                    <a:gd name="connsiteX42" fmla="*/ 191398 w 333325"/>
                    <a:gd name="connsiteY42" fmla="*/ 75467 h 333530"/>
                    <a:gd name="connsiteX43" fmla="*/ 175567 w 333325"/>
                    <a:gd name="connsiteY43" fmla="*/ 91298 h 333530"/>
                    <a:gd name="connsiteX44" fmla="*/ 172906 w 333325"/>
                    <a:gd name="connsiteY44" fmla="*/ 92253 h 333530"/>
                    <a:gd name="connsiteX45" fmla="*/ 172906 w 333325"/>
                    <a:gd name="connsiteY45" fmla="*/ 241687 h 333530"/>
                    <a:gd name="connsiteX46" fmla="*/ 176113 w 333325"/>
                    <a:gd name="connsiteY46" fmla="*/ 242301 h 333530"/>
                    <a:gd name="connsiteX47" fmla="*/ 212141 w 333325"/>
                    <a:gd name="connsiteY47" fmla="*/ 279011 h 333530"/>
                    <a:gd name="connsiteX48" fmla="*/ 212687 w 333325"/>
                    <a:gd name="connsiteY48" fmla="*/ 281740 h 333530"/>
                    <a:gd name="connsiteX49" fmla="*/ 215348 w 333325"/>
                    <a:gd name="connsiteY49" fmla="*/ 282218 h 333530"/>
                    <a:gd name="connsiteX50" fmla="*/ 253014 w 333325"/>
                    <a:gd name="connsiteY50" fmla="*/ 327526 h 333530"/>
                    <a:gd name="connsiteX51" fmla="*/ 253014 w 333325"/>
                    <a:gd name="connsiteY51" fmla="*/ 333530 h 333530"/>
                    <a:gd name="connsiteX52" fmla="*/ 126848 w 333325"/>
                    <a:gd name="connsiteY52" fmla="*/ 293477 h 333530"/>
                    <a:gd name="connsiteX53" fmla="*/ 94710 w 333325"/>
                    <a:gd name="connsiteY53" fmla="*/ 316199 h 333530"/>
                    <a:gd name="connsiteX54" fmla="*/ 92867 w 333325"/>
                    <a:gd name="connsiteY54" fmla="*/ 321521 h 333530"/>
                    <a:gd name="connsiteX55" fmla="*/ 240936 w 333325"/>
                    <a:gd name="connsiteY55" fmla="*/ 321521 h 333530"/>
                    <a:gd name="connsiteX56" fmla="*/ 239026 w 333325"/>
                    <a:gd name="connsiteY56" fmla="*/ 316199 h 333530"/>
                    <a:gd name="connsiteX57" fmla="*/ 206955 w 333325"/>
                    <a:gd name="connsiteY57" fmla="*/ 293477 h 333530"/>
                    <a:gd name="connsiteX58" fmla="*/ 166902 w 333325"/>
                    <a:gd name="connsiteY58" fmla="*/ 253423 h 333530"/>
                    <a:gd name="connsiteX59" fmla="*/ 134831 w 333325"/>
                    <a:gd name="connsiteY59" fmla="*/ 276145 h 333530"/>
                    <a:gd name="connsiteX60" fmla="*/ 132921 w 333325"/>
                    <a:gd name="connsiteY60" fmla="*/ 281467 h 333530"/>
                    <a:gd name="connsiteX61" fmla="*/ 201155 w 333325"/>
                    <a:gd name="connsiteY61" fmla="*/ 281467 h 333530"/>
                    <a:gd name="connsiteX62" fmla="*/ 199245 w 333325"/>
                    <a:gd name="connsiteY62" fmla="*/ 276145 h 333530"/>
                    <a:gd name="connsiteX63" fmla="*/ 166902 w 333325"/>
                    <a:gd name="connsiteY63" fmla="*/ 253423 h 333530"/>
                    <a:gd name="connsiteX64" fmla="*/ 235682 w 333325"/>
                    <a:gd name="connsiteY64" fmla="*/ 198016 h 333530"/>
                    <a:gd name="connsiteX65" fmla="*/ 267752 w 333325"/>
                    <a:gd name="connsiteY65" fmla="*/ 220738 h 333530"/>
                    <a:gd name="connsiteX66" fmla="*/ 287813 w 333325"/>
                    <a:gd name="connsiteY66" fmla="*/ 220738 h 333530"/>
                    <a:gd name="connsiteX67" fmla="*/ 319884 w 333325"/>
                    <a:gd name="connsiteY67" fmla="*/ 198016 h 333530"/>
                    <a:gd name="connsiteX68" fmla="*/ 321726 w 333325"/>
                    <a:gd name="connsiteY68" fmla="*/ 192694 h 333530"/>
                    <a:gd name="connsiteX69" fmla="*/ 233703 w 333325"/>
                    <a:gd name="connsiteY69" fmla="*/ 192694 h 333530"/>
                    <a:gd name="connsiteX70" fmla="*/ 14056 w 333325"/>
                    <a:gd name="connsiteY70" fmla="*/ 198016 h 333530"/>
                    <a:gd name="connsiteX71" fmla="*/ 46127 w 333325"/>
                    <a:gd name="connsiteY71" fmla="*/ 220738 h 333530"/>
                    <a:gd name="connsiteX72" fmla="*/ 66188 w 333325"/>
                    <a:gd name="connsiteY72" fmla="*/ 220738 h 333530"/>
                    <a:gd name="connsiteX73" fmla="*/ 98258 w 333325"/>
                    <a:gd name="connsiteY73" fmla="*/ 198016 h 333530"/>
                    <a:gd name="connsiteX74" fmla="*/ 100100 w 333325"/>
                    <a:gd name="connsiteY74" fmla="*/ 192694 h 333530"/>
                    <a:gd name="connsiteX75" fmla="*/ 12078 w 333325"/>
                    <a:gd name="connsiteY75" fmla="*/ 192694 h 333530"/>
                    <a:gd name="connsiteX76" fmla="*/ 236637 w 333325"/>
                    <a:gd name="connsiteY76" fmla="*/ 180958 h 333530"/>
                    <a:gd name="connsiteX77" fmla="*/ 318519 w 333325"/>
                    <a:gd name="connsiteY77" fmla="*/ 180958 h 333530"/>
                    <a:gd name="connsiteX78" fmla="*/ 277578 w 333325"/>
                    <a:gd name="connsiteY78" fmla="*/ 82427 h 333530"/>
                    <a:gd name="connsiteX79" fmla="*/ 15012 w 333325"/>
                    <a:gd name="connsiteY79" fmla="*/ 180958 h 333530"/>
                    <a:gd name="connsiteX80" fmla="*/ 96893 w 333325"/>
                    <a:gd name="connsiteY80" fmla="*/ 180958 h 333530"/>
                    <a:gd name="connsiteX81" fmla="*/ 55952 w 333325"/>
                    <a:gd name="connsiteY81" fmla="*/ 82427 h 333530"/>
                    <a:gd name="connsiteX82" fmla="*/ 166902 w 333325"/>
                    <a:gd name="connsiteY82" fmla="*/ 52745 h 333530"/>
                    <a:gd name="connsiteX83" fmla="*/ 152777 w 333325"/>
                    <a:gd name="connsiteY83" fmla="*/ 66733 h 333530"/>
                    <a:gd name="connsiteX84" fmla="*/ 166765 w 333325"/>
                    <a:gd name="connsiteY84" fmla="*/ 80858 h 333530"/>
                    <a:gd name="connsiteX85" fmla="*/ 180890 w 333325"/>
                    <a:gd name="connsiteY85" fmla="*/ 66870 h 333530"/>
                    <a:gd name="connsiteX86" fmla="*/ 180890 w 333325"/>
                    <a:gd name="connsiteY86" fmla="*/ 66801 h 333530"/>
                    <a:gd name="connsiteX87" fmla="*/ 167109 w 333325"/>
                    <a:gd name="connsiteY87" fmla="*/ 52475 h 333530"/>
                    <a:gd name="connsiteX88" fmla="*/ 166902 w 333325"/>
                    <a:gd name="connsiteY88" fmla="*/ 52472 h 33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33325" h="333530">
                      <a:moveTo>
                        <a:pt x="80790" y="333530"/>
                      </a:moveTo>
                      <a:lnTo>
                        <a:pt x="80790" y="327526"/>
                      </a:lnTo>
                      <a:cubicBezTo>
                        <a:pt x="80801" y="305349"/>
                        <a:pt x="96592" y="286319"/>
                        <a:pt x="118387" y="282218"/>
                      </a:cubicBezTo>
                      <a:lnTo>
                        <a:pt x="121116" y="281740"/>
                      </a:lnTo>
                      <a:lnTo>
                        <a:pt x="121594" y="279011"/>
                      </a:lnTo>
                      <a:cubicBezTo>
                        <a:pt x="125145" y="260627"/>
                        <a:pt x="139369" y="246161"/>
                        <a:pt x="157690" y="242301"/>
                      </a:cubicBezTo>
                      <a:lnTo>
                        <a:pt x="160897" y="241687"/>
                      </a:lnTo>
                      <a:lnTo>
                        <a:pt x="160897" y="92253"/>
                      </a:lnTo>
                      <a:lnTo>
                        <a:pt x="158236" y="91298"/>
                      </a:lnTo>
                      <a:cubicBezTo>
                        <a:pt x="150836" y="88663"/>
                        <a:pt x="145004" y="82856"/>
                        <a:pt x="142337" y="75467"/>
                      </a:cubicBezTo>
                      <a:lnTo>
                        <a:pt x="141382" y="72806"/>
                      </a:lnTo>
                      <a:lnTo>
                        <a:pt x="65096" y="72806"/>
                      </a:lnTo>
                      <a:lnTo>
                        <a:pt x="112178" y="185734"/>
                      </a:lnTo>
                      <a:lnTo>
                        <a:pt x="112178" y="186963"/>
                      </a:lnTo>
                      <a:cubicBezTo>
                        <a:pt x="112140" y="212384"/>
                        <a:pt x="91541" y="232983"/>
                        <a:pt x="66119" y="233021"/>
                      </a:cubicBezTo>
                      <a:lnTo>
                        <a:pt x="46058" y="233021"/>
                      </a:lnTo>
                      <a:cubicBezTo>
                        <a:pt x="20637" y="232983"/>
                        <a:pt x="37" y="212384"/>
                        <a:pt x="0" y="186963"/>
                      </a:cubicBezTo>
                      <a:lnTo>
                        <a:pt x="0" y="185734"/>
                      </a:lnTo>
                      <a:lnTo>
                        <a:pt x="47082" y="72806"/>
                      </a:lnTo>
                      <a:lnTo>
                        <a:pt x="19788" y="72806"/>
                      </a:lnTo>
                      <a:lnTo>
                        <a:pt x="19788" y="60797"/>
                      </a:lnTo>
                      <a:lnTo>
                        <a:pt x="141177" y="60797"/>
                      </a:lnTo>
                      <a:lnTo>
                        <a:pt x="142133" y="58136"/>
                      </a:lnTo>
                      <a:cubicBezTo>
                        <a:pt x="144773" y="50716"/>
                        <a:pt x="150612" y="44878"/>
                        <a:pt x="158031" y="42237"/>
                      </a:cubicBezTo>
                      <a:lnTo>
                        <a:pt x="160692" y="41282"/>
                      </a:lnTo>
                      <a:lnTo>
                        <a:pt x="160692" y="0"/>
                      </a:lnTo>
                      <a:lnTo>
                        <a:pt x="172702" y="0"/>
                      </a:lnTo>
                      <a:lnTo>
                        <a:pt x="172702" y="41282"/>
                      </a:lnTo>
                      <a:lnTo>
                        <a:pt x="175363" y="42237"/>
                      </a:lnTo>
                      <a:cubicBezTo>
                        <a:pt x="182751" y="44904"/>
                        <a:pt x="188559" y="50736"/>
                        <a:pt x="191193" y="58136"/>
                      </a:cubicBezTo>
                      <a:lnTo>
                        <a:pt x="192148" y="60797"/>
                      </a:lnTo>
                      <a:lnTo>
                        <a:pt x="313538" y="60797"/>
                      </a:lnTo>
                      <a:lnTo>
                        <a:pt x="313538" y="72806"/>
                      </a:lnTo>
                      <a:lnTo>
                        <a:pt x="286244" y="72806"/>
                      </a:lnTo>
                      <a:lnTo>
                        <a:pt x="333326" y="185734"/>
                      </a:lnTo>
                      <a:lnTo>
                        <a:pt x="333326" y="186963"/>
                      </a:lnTo>
                      <a:cubicBezTo>
                        <a:pt x="333288" y="212384"/>
                        <a:pt x="312689" y="232983"/>
                        <a:pt x="287267" y="233021"/>
                      </a:cubicBezTo>
                      <a:lnTo>
                        <a:pt x="267206" y="233021"/>
                      </a:lnTo>
                      <a:cubicBezTo>
                        <a:pt x="241785" y="232983"/>
                        <a:pt x="221186" y="212384"/>
                        <a:pt x="221148" y="186963"/>
                      </a:cubicBezTo>
                      <a:lnTo>
                        <a:pt x="221148" y="185734"/>
                      </a:lnTo>
                      <a:lnTo>
                        <a:pt x="268230" y="72806"/>
                      </a:lnTo>
                      <a:lnTo>
                        <a:pt x="192353" y="72806"/>
                      </a:lnTo>
                      <a:lnTo>
                        <a:pt x="191398" y="75467"/>
                      </a:lnTo>
                      <a:cubicBezTo>
                        <a:pt x="188738" y="82836"/>
                        <a:pt x="182936" y="88638"/>
                        <a:pt x="175567" y="91298"/>
                      </a:cubicBezTo>
                      <a:lnTo>
                        <a:pt x="172906" y="92253"/>
                      </a:lnTo>
                      <a:lnTo>
                        <a:pt x="172906" y="241687"/>
                      </a:lnTo>
                      <a:lnTo>
                        <a:pt x="176113" y="242301"/>
                      </a:lnTo>
                      <a:cubicBezTo>
                        <a:pt x="194418" y="246169"/>
                        <a:pt x="208617" y="260637"/>
                        <a:pt x="212141" y="279011"/>
                      </a:cubicBezTo>
                      <a:lnTo>
                        <a:pt x="212687" y="281740"/>
                      </a:lnTo>
                      <a:lnTo>
                        <a:pt x="215348" y="282218"/>
                      </a:lnTo>
                      <a:cubicBezTo>
                        <a:pt x="237170" y="286290"/>
                        <a:pt x="252996" y="305327"/>
                        <a:pt x="253014" y="327526"/>
                      </a:cubicBezTo>
                      <a:lnTo>
                        <a:pt x="253014" y="333530"/>
                      </a:lnTo>
                      <a:close/>
                      <a:moveTo>
                        <a:pt x="126848" y="293477"/>
                      </a:moveTo>
                      <a:cubicBezTo>
                        <a:pt x="112406" y="293485"/>
                        <a:pt x="99533" y="302586"/>
                        <a:pt x="94710" y="316199"/>
                      </a:cubicBezTo>
                      <a:lnTo>
                        <a:pt x="92867" y="321521"/>
                      </a:lnTo>
                      <a:lnTo>
                        <a:pt x="240936" y="321521"/>
                      </a:lnTo>
                      <a:lnTo>
                        <a:pt x="239026" y="316199"/>
                      </a:lnTo>
                      <a:cubicBezTo>
                        <a:pt x="234210" y="302609"/>
                        <a:pt x="221373" y="293514"/>
                        <a:pt x="206955" y="293477"/>
                      </a:cubicBezTo>
                      <a:close/>
                      <a:moveTo>
                        <a:pt x="166902" y="253423"/>
                      </a:moveTo>
                      <a:cubicBezTo>
                        <a:pt x="152485" y="253460"/>
                        <a:pt x="139647" y="262556"/>
                        <a:pt x="134831" y="276145"/>
                      </a:cubicBezTo>
                      <a:lnTo>
                        <a:pt x="132921" y="281467"/>
                      </a:lnTo>
                      <a:lnTo>
                        <a:pt x="201155" y="281467"/>
                      </a:lnTo>
                      <a:lnTo>
                        <a:pt x="199245" y="276145"/>
                      </a:lnTo>
                      <a:cubicBezTo>
                        <a:pt x="194396" y="262461"/>
                        <a:pt x="181419" y="253344"/>
                        <a:pt x="166902" y="253423"/>
                      </a:cubicBezTo>
                      <a:close/>
                      <a:moveTo>
                        <a:pt x="235682" y="198016"/>
                      </a:moveTo>
                      <a:cubicBezTo>
                        <a:pt x="240497" y="211606"/>
                        <a:pt x="253335" y="220701"/>
                        <a:pt x="267752" y="220738"/>
                      </a:cubicBezTo>
                      <a:lnTo>
                        <a:pt x="287813" y="220738"/>
                      </a:lnTo>
                      <a:cubicBezTo>
                        <a:pt x="302231" y="220701"/>
                        <a:pt x="315068" y="211606"/>
                        <a:pt x="319884" y="198016"/>
                      </a:cubicBezTo>
                      <a:lnTo>
                        <a:pt x="321726" y="192694"/>
                      </a:lnTo>
                      <a:lnTo>
                        <a:pt x="233703" y="192694"/>
                      </a:lnTo>
                      <a:close/>
                      <a:moveTo>
                        <a:pt x="14056" y="198016"/>
                      </a:moveTo>
                      <a:cubicBezTo>
                        <a:pt x="18872" y="211606"/>
                        <a:pt x="31709" y="220701"/>
                        <a:pt x="46127" y="220738"/>
                      </a:cubicBezTo>
                      <a:lnTo>
                        <a:pt x="66188" y="220738"/>
                      </a:lnTo>
                      <a:cubicBezTo>
                        <a:pt x="80605" y="220701"/>
                        <a:pt x="93442" y="211606"/>
                        <a:pt x="98258" y="198016"/>
                      </a:cubicBezTo>
                      <a:lnTo>
                        <a:pt x="100100" y="192694"/>
                      </a:lnTo>
                      <a:lnTo>
                        <a:pt x="12078" y="192694"/>
                      </a:lnTo>
                      <a:close/>
                      <a:moveTo>
                        <a:pt x="236637" y="180958"/>
                      </a:moveTo>
                      <a:lnTo>
                        <a:pt x="318519" y="180958"/>
                      </a:lnTo>
                      <a:lnTo>
                        <a:pt x="277578" y="82427"/>
                      </a:lnTo>
                      <a:close/>
                      <a:moveTo>
                        <a:pt x="15012" y="180958"/>
                      </a:moveTo>
                      <a:lnTo>
                        <a:pt x="96893" y="180958"/>
                      </a:lnTo>
                      <a:lnTo>
                        <a:pt x="55952" y="82427"/>
                      </a:lnTo>
                      <a:close/>
                      <a:moveTo>
                        <a:pt x="166902" y="52745"/>
                      </a:moveTo>
                      <a:cubicBezTo>
                        <a:pt x="159139" y="52707"/>
                        <a:pt x="152815" y="58970"/>
                        <a:pt x="152777" y="66733"/>
                      </a:cubicBezTo>
                      <a:cubicBezTo>
                        <a:pt x="152740" y="74496"/>
                        <a:pt x="159002" y="80820"/>
                        <a:pt x="166765" y="80858"/>
                      </a:cubicBezTo>
                      <a:cubicBezTo>
                        <a:pt x="174528" y="80895"/>
                        <a:pt x="180852" y="74633"/>
                        <a:pt x="180890" y="66870"/>
                      </a:cubicBezTo>
                      <a:cubicBezTo>
                        <a:pt x="180890" y="66847"/>
                        <a:pt x="180890" y="66824"/>
                        <a:pt x="180890" y="66801"/>
                      </a:cubicBezTo>
                      <a:cubicBezTo>
                        <a:pt x="181041" y="59040"/>
                        <a:pt x="174871" y="52626"/>
                        <a:pt x="167109" y="52475"/>
                      </a:cubicBezTo>
                      <a:cubicBezTo>
                        <a:pt x="167040" y="52473"/>
                        <a:pt x="166971" y="52473"/>
                        <a:pt x="166902" y="52472"/>
                      </a:cubicBezTo>
                      <a:close/>
                    </a:path>
                  </a:pathLst>
                </a:custGeom>
                <a:solidFill>
                  <a:srgbClr val="FFFFFF"/>
                </a:solidFill>
                <a:ln w="6816" cap="flat">
                  <a:noFill/>
                  <a:prstDash val="solid"/>
                  <a:miter/>
                </a:ln>
              </p:spPr>
              <p:txBody>
                <a:bodyPr rtlCol="0" anchor="ctr"/>
                <a:lstStyle/>
                <a:p>
                  <a:endParaRPr lang="en-SG" sz="1059"/>
                </a:p>
              </p:txBody>
            </p:sp>
          </p:grpSp>
          <p:sp>
            <p:nvSpPr>
              <p:cNvPr id="20" name="TextBox 19">
                <a:extLst>
                  <a:ext uri="{FF2B5EF4-FFF2-40B4-BE49-F238E27FC236}">
                    <a16:creationId xmlns:a16="http://schemas.microsoft.com/office/drawing/2014/main" xmlns="" id="{5FB9462D-8ED4-4FCC-AA57-51D9DDC25D8C}"/>
                  </a:ext>
                </a:extLst>
              </p:cNvPr>
              <p:cNvSpPr txBox="1"/>
              <p:nvPr/>
            </p:nvSpPr>
            <p:spPr>
              <a:xfrm>
                <a:off x="2612716" y="3256458"/>
                <a:ext cx="979778" cy="422343"/>
              </a:xfrm>
              <a:prstGeom prst="rect">
                <a:avLst/>
              </a:prstGeom>
              <a:noFill/>
            </p:spPr>
            <p:txBody>
              <a:bodyPr wrap="square" rtlCol="0">
                <a:spAutoFit/>
              </a:bodyPr>
              <a:lstStyle/>
              <a:p>
                <a:pPr algn="ctr"/>
                <a:r>
                  <a:rPr lang="en-US" sz="900" b="1" dirty="0">
                    <a:solidFill>
                      <a:srgbClr val="344F73"/>
                    </a:solidFill>
                    <a:latin typeface="Arsenal" panose="00000500000000000000" pitchFamily="2" charset="0"/>
                  </a:rPr>
                  <a:t>Robust Laws &amp; Polices</a:t>
                </a:r>
                <a:endParaRPr lang="en-SG" sz="900" b="1" dirty="0">
                  <a:solidFill>
                    <a:srgbClr val="344F73"/>
                  </a:solidFill>
                  <a:latin typeface="Arsenal" panose="00000500000000000000" pitchFamily="2" charset="0"/>
                </a:endParaRPr>
              </a:p>
            </p:txBody>
          </p:sp>
          <p:sp>
            <p:nvSpPr>
              <p:cNvPr id="21" name="Freeform: Shape 20">
                <a:extLst>
                  <a:ext uri="{FF2B5EF4-FFF2-40B4-BE49-F238E27FC236}">
                    <a16:creationId xmlns:a16="http://schemas.microsoft.com/office/drawing/2014/main" xmlns="" id="{833D8B6B-EEDA-431A-AACD-7F521C533109}"/>
                  </a:ext>
                </a:extLst>
              </p:cNvPr>
              <p:cNvSpPr/>
              <p:nvPr/>
            </p:nvSpPr>
            <p:spPr>
              <a:xfrm>
                <a:off x="3737835" y="3709612"/>
                <a:ext cx="979779" cy="3348651"/>
              </a:xfrm>
              <a:custGeom>
                <a:avLst/>
                <a:gdLst>
                  <a:gd name="connsiteX0" fmla="*/ 96415 w 979779"/>
                  <a:gd name="connsiteY0" fmla="*/ 273 h 2899011"/>
                  <a:gd name="connsiteX1" fmla="*/ 0 w 979779"/>
                  <a:gd name="connsiteY1" fmla="*/ 84543 h 2899011"/>
                  <a:gd name="connsiteX2" fmla="*/ 0 w 979779"/>
                  <a:gd name="connsiteY2" fmla="*/ 2814810 h 2899011"/>
                  <a:gd name="connsiteX3" fmla="*/ 96415 w 979779"/>
                  <a:gd name="connsiteY3" fmla="*/ 2899012 h 2899011"/>
                  <a:gd name="connsiteX4" fmla="*/ 883296 w 979779"/>
                  <a:gd name="connsiteY4" fmla="*/ 2899012 h 2899011"/>
                  <a:gd name="connsiteX5" fmla="*/ 979779 w 979779"/>
                  <a:gd name="connsiteY5" fmla="*/ 2814810 h 2899011"/>
                  <a:gd name="connsiteX6" fmla="*/ 979779 w 979779"/>
                  <a:gd name="connsiteY6" fmla="*/ 84270 h 2899011"/>
                  <a:gd name="connsiteX7" fmla="*/ 883296 w 979779"/>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779" h="2899011">
                    <a:moveTo>
                      <a:pt x="96415" y="273"/>
                    </a:moveTo>
                    <a:cubicBezTo>
                      <a:pt x="43192" y="273"/>
                      <a:pt x="0" y="38007"/>
                      <a:pt x="0" y="84543"/>
                    </a:cubicBezTo>
                    <a:lnTo>
                      <a:pt x="0" y="2814810"/>
                    </a:lnTo>
                    <a:cubicBezTo>
                      <a:pt x="0" y="2861346"/>
                      <a:pt x="43192" y="2899012"/>
                      <a:pt x="96415" y="2899012"/>
                    </a:cubicBezTo>
                    <a:lnTo>
                      <a:pt x="883296" y="2899012"/>
                    </a:lnTo>
                    <a:cubicBezTo>
                      <a:pt x="936587" y="2899012"/>
                      <a:pt x="979779" y="2861346"/>
                      <a:pt x="979779" y="2814810"/>
                    </a:cubicBezTo>
                    <a:lnTo>
                      <a:pt x="979779" y="84270"/>
                    </a:lnTo>
                    <a:cubicBezTo>
                      <a:pt x="979779" y="37734"/>
                      <a:pt x="936587" y="0"/>
                      <a:pt x="883296" y="0"/>
                    </a:cubicBezTo>
                    <a:close/>
                  </a:path>
                </a:pathLst>
              </a:custGeom>
              <a:solidFill>
                <a:srgbClr val="E48D2F">
                  <a:alpha val="10000"/>
                </a:srgbClr>
              </a:solidFill>
              <a:ln w="6816" cap="flat">
                <a:noFill/>
                <a:prstDash val="solid"/>
                <a:miter/>
              </a:ln>
            </p:spPr>
            <p:txBody>
              <a:bodyPr rtlCol="0" anchor="ctr"/>
              <a:lstStyle/>
              <a:p>
                <a:endParaRPr lang="en-SG" sz="1059"/>
              </a:p>
            </p:txBody>
          </p:sp>
          <p:sp>
            <p:nvSpPr>
              <p:cNvPr id="22" name="object 22">
                <a:extLst>
                  <a:ext uri="{FF2B5EF4-FFF2-40B4-BE49-F238E27FC236}">
                    <a16:creationId xmlns:a16="http://schemas.microsoft.com/office/drawing/2014/main" xmlns="" id="{457541F8-E4A1-4F3D-8EFB-31A1B3313F94}"/>
                  </a:ext>
                </a:extLst>
              </p:cNvPr>
              <p:cNvSpPr txBox="1"/>
              <p:nvPr/>
            </p:nvSpPr>
            <p:spPr>
              <a:xfrm>
                <a:off x="3777268" y="3749165"/>
                <a:ext cx="878896" cy="1137938"/>
              </a:xfrm>
              <a:prstGeom prst="rect">
                <a:avLst/>
              </a:prstGeom>
            </p:spPr>
            <p:txBody>
              <a:bodyPr vert="horz" wrap="square" lIns="0" tIns="9361" rIns="0" bIns="0" rtlCol="0">
                <a:spAutoFit/>
              </a:bodyPr>
              <a:lstStyle/>
              <a:p>
                <a:pPr algn="ctr">
                  <a:spcBef>
                    <a:spcPts val="442"/>
                  </a:spcBef>
                  <a:spcAft>
                    <a:spcPts val="442"/>
                  </a:spcAft>
                </a:pPr>
                <a:r>
                  <a:rPr sz="800" spc="-4" dirty="0">
                    <a:solidFill>
                      <a:srgbClr val="231F20"/>
                    </a:solidFill>
                    <a:latin typeface="Arsenal"/>
                    <a:cs typeface="Arsenal"/>
                  </a:rPr>
                  <a:t>Coordination</a:t>
                </a:r>
                <a:endParaRPr sz="800" dirty="0">
                  <a:latin typeface="Arsenal"/>
                  <a:cs typeface="Arsenal"/>
                </a:endParaRPr>
              </a:p>
              <a:p>
                <a:pPr marL="9361" marR="3744" algn="ctr">
                  <a:lnSpc>
                    <a:spcPct val="166700"/>
                  </a:lnSpc>
                  <a:spcBef>
                    <a:spcPts val="442"/>
                  </a:spcBef>
                  <a:spcAft>
                    <a:spcPts val="442"/>
                  </a:spcAft>
                </a:pPr>
                <a:r>
                  <a:rPr sz="800" dirty="0">
                    <a:solidFill>
                      <a:srgbClr val="231F20"/>
                    </a:solidFill>
                    <a:latin typeface="Arsenal"/>
                    <a:cs typeface="Arsenal"/>
                  </a:rPr>
                  <a:t>Data Capability  Implementation</a:t>
                </a:r>
                <a:endParaRPr sz="800" dirty="0">
                  <a:latin typeface="Arsenal"/>
                  <a:cs typeface="Arsenal"/>
                </a:endParaRPr>
              </a:p>
              <a:p>
                <a:pPr marL="59443" marR="53827" algn="ctr">
                  <a:spcBef>
                    <a:spcPts val="442"/>
                  </a:spcBef>
                  <a:spcAft>
                    <a:spcPts val="442"/>
                  </a:spcAft>
                </a:pPr>
                <a:r>
                  <a:rPr sz="800" dirty="0">
                    <a:solidFill>
                      <a:srgbClr val="231F20"/>
                    </a:solidFill>
                    <a:latin typeface="Arsenal"/>
                    <a:cs typeface="Arsenal"/>
                  </a:rPr>
                  <a:t>Quality of </a:t>
                </a:r>
                <a:r>
                  <a:rPr sz="800" spc="4" dirty="0">
                    <a:solidFill>
                      <a:srgbClr val="231F20"/>
                    </a:solidFill>
                    <a:latin typeface="Arsenal"/>
                    <a:cs typeface="Arsenal"/>
                  </a:rPr>
                  <a:t> </a:t>
                </a:r>
                <a:r>
                  <a:rPr sz="800" dirty="0">
                    <a:solidFill>
                      <a:srgbClr val="231F20"/>
                    </a:solidFill>
                    <a:latin typeface="Arsenal"/>
                    <a:cs typeface="Arsenal"/>
                  </a:rPr>
                  <a:t>Bu</a:t>
                </a:r>
                <a:r>
                  <a:rPr sz="800" spc="-11" dirty="0">
                    <a:solidFill>
                      <a:srgbClr val="231F20"/>
                    </a:solidFill>
                    <a:latin typeface="Arsenal"/>
                    <a:cs typeface="Arsenal"/>
                  </a:rPr>
                  <a:t>r</a:t>
                </a:r>
                <a:r>
                  <a:rPr sz="800" dirty="0">
                    <a:solidFill>
                      <a:srgbClr val="231F20"/>
                    </a:solidFill>
                    <a:latin typeface="Arsenal"/>
                    <a:cs typeface="Arsenal"/>
                  </a:rPr>
                  <a:t>eauc</a:t>
                </a:r>
                <a:r>
                  <a:rPr sz="800" spc="-15" dirty="0">
                    <a:solidFill>
                      <a:srgbClr val="231F20"/>
                    </a:solidFill>
                    <a:latin typeface="Arsenal"/>
                    <a:cs typeface="Arsenal"/>
                  </a:rPr>
                  <a:t>r</a:t>
                </a:r>
                <a:r>
                  <a:rPr sz="800" dirty="0">
                    <a:solidFill>
                      <a:srgbClr val="231F20"/>
                    </a:solidFill>
                    <a:latin typeface="Arsenal"/>
                    <a:cs typeface="Arsenal"/>
                  </a:rPr>
                  <a:t>acy</a:t>
                </a:r>
                <a:endParaRPr sz="800" dirty="0">
                  <a:latin typeface="Arsenal"/>
                  <a:cs typeface="Arsenal"/>
                </a:endParaRPr>
              </a:p>
            </p:txBody>
          </p:sp>
          <p:grpSp>
            <p:nvGrpSpPr>
              <p:cNvPr id="23" name="Group 22">
                <a:extLst>
                  <a:ext uri="{FF2B5EF4-FFF2-40B4-BE49-F238E27FC236}">
                    <a16:creationId xmlns:a16="http://schemas.microsoft.com/office/drawing/2014/main" xmlns="" id="{90502EDF-F4A4-4BD2-9B34-59660C4ED317}"/>
                  </a:ext>
                </a:extLst>
              </p:cNvPr>
              <p:cNvGrpSpPr/>
              <p:nvPr/>
            </p:nvGrpSpPr>
            <p:grpSpPr>
              <a:xfrm>
                <a:off x="3958148" y="2662652"/>
                <a:ext cx="553654" cy="553654"/>
                <a:chOff x="3958114" y="2732858"/>
                <a:chExt cx="553654" cy="553654"/>
              </a:xfrm>
            </p:grpSpPr>
            <p:sp>
              <p:nvSpPr>
                <p:cNvPr id="54" name="Freeform: Shape 53">
                  <a:extLst>
                    <a:ext uri="{FF2B5EF4-FFF2-40B4-BE49-F238E27FC236}">
                      <a16:creationId xmlns:a16="http://schemas.microsoft.com/office/drawing/2014/main" xmlns="" id="{26733DB5-281A-4575-A81F-071FCDBF9B3E}"/>
                    </a:ext>
                  </a:extLst>
                </p:cNvPr>
                <p:cNvSpPr/>
                <p:nvPr/>
              </p:nvSpPr>
              <p:spPr>
                <a:xfrm>
                  <a:off x="3958114" y="2732858"/>
                  <a:ext cx="553654" cy="553654"/>
                </a:xfrm>
                <a:custGeom>
                  <a:avLst/>
                  <a:gdLst>
                    <a:gd name="connsiteX0" fmla="*/ 553655 w 553654"/>
                    <a:gd name="connsiteY0" fmla="*/ 276827 h 553654"/>
                    <a:gd name="connsiteX1" fmla="*/ 276828 w 553654"/>
                    <a:gd name="connsiteY1" fmla="*/ 553655 h 553654"/>
                    <a:gd name="connsiteX2" fmla="*/ 0 w 553654"/>
                    <a:gd name="connsiteY2" fmla="*/ 276827 h 553654"/>
                    <a:gd name="connsiteX3" fmla="*/ 276828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8" y="553655"/>
                      </a:cubicBezTo>
                      <a:cubicBezTo>
                        <a:pt x="123940" y="553655"/>
                        <a:pt x="0" y="429715"/>
                        <a:pt x="0" y="276827"/>
                      </a:cubicBezTo>
                      <a:cubicBezTo>
                        <a:pt x="0" y="123940"/>
                        <a:pt x="123940" y="0"/>
                        <a:pt x="276828" y="0"/>
                      </a:cubicBezTo>
                      <a:cubicBezTo>
                        <a:pt x="429715" y="0"/>
                        <a:pt x="553655" y="123940"/>
                        <a:pt x="553655" y="276827"/>
                      </a:cubicBezTo>
                      <a:close/>
                    </a:path>
                  </a:pathLst>
                </a:custGeom>
                <a:solidFill>
                  <a:srgbClr val="E48D2F"/>
                </a:solidFill>
                <a:ln w="6816" cap="flat">
                  <a:noFill/>
                  <a:prstDash val="solid"/>
                  <a:miter/>
                </a:ln>
              </p:spPr>
              <p:txBody>
                <a:bodyPr rtlCol="0" anchor="ctr"/>
                <a:lstStyle/>
                <a:p>
                  <a:endParaRPr lang="en-SG" sz="1059"/>
                </a:p>
              </p:txBody>
            </p:sp>
            <p:sp>
              <p:nvSpPr>
                <p:cNvPr id="55" name="Freeform: Shape 54">
                  <a:extLst>
                    <a:ext uri="{FF2B5EF4-FFF2-40B4-BE49-F238E27FC236}">
                      <a16:creationId xmlns:a16="http://schemas.microsoft.com/office/drawing/2014/main" xmlns="" id="{EA48B0FE-D59E-4146-B7D4-2BA3D3D951F2}"/>
                    </a:ext>
                  </a:extLst>
                </p:cNvPr>
                <p:cNvSpPr/>
                <p:nvPr/>
              </p:nvSpPr>
              <p:spPr>
                <a:xfrm>
                  <a:off x="4065106" y="2840714"/>
                  <a:ext cx="339944" cy="317722"/>
                </a:xfrm>
                <a:custGeom>
                  <a:avLst/>
                  <a:gdLst>
                    <a:gd name="connsiteX0" fmla="*/ 172975 w 339944"/>
                    <a:gd name="connsiteY0" fmla="*/ 978 h 317722"/>
                    <a:gd name="connsiteX1" fmla="*/ 166697 w 339944"/>
                    <a:gd name="connsiteY1" fmla="*/ 978 h 317722"/>
                    <a:gd name="connsiteX2" fmla="*/ 15284 w 339944"/>
                    <a:gd name="connsiteY2" fmla="*/ 101897 h 317722"/>
                    <a:gd name="connsiteX3" fmla="*/ 0 w 339944"/>
                    <a:gd name="connsiteY3" fmla="*/ 101897 h 317722"/>
                    <a:gd name="connsiteX4" fmla="*/ 0 w 339944"/>
                    <a:gd name="connsiteY4" fmla="*/ 136014 h 317722"/>
                    <a:gd name="connsiteX5" fmla="*/ 11532 w 339944"/>
                    <a:gd name="connsiteY5" fmla="*/ 136014 h 317722"/>
                    <a:gd name="connsiteX6" fmla="*/ 11532 w 339944"/>
                    <a:gd name="connsiteY6" fmla="*/ 158668 h 317722"/>
                    <a:gd name="connsiteX7" fmla="*/ 22859 w 339944"/>
                    <a:gd name="connsiteY7" fmla="*/ 158668 h 317722"/>
                    <a:gd name="connsiteX8" fmla="*/ 22859 w 339944"/>
                    <a:gd name="connsiteY8" fmla="*/ 283264 h 317722"/>
                    <a:gd name="connsiteX9" fmla="*/ 11532 w 339944"/>
                    <a:gd name="connsiteY9" fmla="*/ 283264 h 317722"/>
                    <a:gd name="connsiteX10" fmla="*/ 11532 w 339944"/>
                    <a:gd name="connsiteY10" fmla="*/ 317723 h 317722"/>
                    <a:gd name="connsiteX11" fmla="*/ 328617 w 339944"/>
                    <a:gd name="connsiteY11" fmla="*/ 317723 h 317722"/>
                    <a:gd name="connsiteX12" fmla="*/ 328617 w 339944"/>
                    <a:gd name="connsiteY12" fmla="*/ 283264 h 317722"/>
                    <a:gd name="connsiteX13" fmla="*/ 317291 w 339944"/>
                    <a:gd name="connsiteY13" fmla="*/ 283264 h 317722"/>
                    <a:gd name="connsiteX14" fmla="*/ 317291 w 339944"/>
                    <a:gd name="connsiteY14" fmla="*/ 158531 h 317722"/>
                    <a:gd name="connsiteX15" fmla="*/ 328617 w 339944"/>
                    <a:gd name="connsiteY15" fmla="*/ 158531 h 317722"/>
                    <a:gd name="connsiteX16" fmla="*/ 328617 w 339944"/>
                    <a:gd name="connsiteY16" fmla="*/ 135877 h 317722"/>
                    <a:gd name="connsiteX17" fmla="*/ 339944 w 339944"/>
                    <a:gd name="connsiteY17" fmla="*/ 135877 h 317722"/>
                    <a:gd name="connsiteX18" fmla="*/ 339944 w 339944"/>
                    <a:gd name="connsiteY18" fmla="*/ 101760 h 317722"/>
                    <a:gd name="connsiteX19" fmla="*/ 324592 w 339944"/>
                    <a:gd name="connsiteY19" fmla="*/ 101760 h 317722"/>
                    <a:gd name="connsiteX20" fmla="*/ 169836 w 339944"/>
                    <a:gd name="connsiteY20" fmla="*/ 12714 h 317722"/>
                    <a:gd name="connsiteX21" fmla="*/ 304053 w 339944"/>
                    <a:gd name="connsiteY21" fmla="*/ 102170 h 317722"/>
                    <a:gd name="connsiteX22" fmla="*/ 35687 w 339944"/>
                    <a:gd name="connsiteY22" fmla="*/ 102170 h 317722"/>
                    <a:gd name="connsiteX23" fmla="*/ 22654 w 339944"/>
                    <a:gd name="connsiteY23" fmla="*/ 294727 h 317722"/>
                    <a:gd name="connsiteX24" fmla="*/ 317086 w 339944"/>
                    <a:gd name="connsiteY24" fmla="*/ 294727 h 317722"/>
                    <a:gd name="connsiteX25" fmla="*/ 317086 w 339944"/>
                    <a:gd name="connsiteY25" fmla="*/ 306123 h 317722"/>
                    <a:gd name="connsiteX26" fmla="*/ 22654 w 339944"/>
                    <a:gd name="connsiteY26" fmla="*/ 306123 h 317722"/>
                    <a:gd name="connsiteX27" fmla="*/ 108425 w 339944"/>
                    <a:gd name="connsiteY27" fmla="*/ 158804 h 317722"/>
                    <a:gd name="connsiteX28" fmla="*/ 108425 w 339944"/>
                    <a:gd name="connsiteY28" fmla="*/ 283401 h 317722"/>
                    <a:gd name="connsiteX29" fmla="*/ 56635 w 339944"/>
                    <a:gd name="connsiteY29" fmla="*/ 283401 h 317722"/>
                    <a:gd name="connsiteX30" fmla="*/ 56635 w 339944"/>
                    <a:gd name="connsiteY30" fmla="*/ 158531 h 317722"/>
                    <a:gd name="connsiteX31" fmla="*/ 67962 w 339944"/>
                    <a:gd name="connsiteY31" fmla="*/ 158531 h 317722"/>
                    <a:gd name="connsiteX32" fmla="*/ 67962 w 339944"/>
                    <a:gd name="connsiteY32" fmla="*/ 135877 h 317722"/>
                    <a:gd name="connsiteX33" fmla="*/ 97098 w 339944"/>
                    <a:gd name="connsiteY33" fmla="*/ 135877 h 317722"/>
                    <a:gd name="connsiteX34" fmla="*/ 97098 w 339944"/>
                    <a:gd name="connsiteY34" fmla="*/ 158531 h 317722"/>
                    <a:gd name="connsiteX35" fmla="*/ 56635 w 339944"/>
                    <a:gd name="connsiteY35" fmla="*/ 147477 h 317722"/>
                    <a:gd name="connsiteX36" fmla="*/ 22517 w 339944"/>
                    <a:gd name="connsiteY36" fmla="*/ 147477 h 317722"/>
                    <a:gd name="connsiteX37" fmla="*/ 22517 w 339944"/>
                    <a:gd name="connsiteY37" fmla="*/ 136150 h 317722"/>
                    <a:gd name="connsiteX38" fmla="*/ 56635 w 339944"/>
                    <a:gd name="connsiteY38" fmla="*/ 136150 h 317722"/>
                    <a:gd name="connsiteX39" fmla="*/ 45649 w 339944"/>
                    <a:gd name="connsiteY39" fmla="*/ 158531 h 317722"/>
                    <a:gd name="connsiteX40" fmla="*/ 45649 w 339944"/>
                    <a:gd name="connsiteY40" fmla="*/ 283128 h 317722"/>
                    <a:gd name="connsiteX41" fmla="*/ 34322 w 339944"/>
                    <a:gd name="connsiteY41" fmla="*/ 283128 h 317722"/>
                    <a:gd name="connsiteX42" fmla="*/ 34322 w 339944"/>
                    <a:gd name="connsiteY42" fmla="*/ 158531 h 317722"/>
                    <a:gd name="connsiteX43" fmla="*/ 197607 w 339944"/>
                    <a:gd name="connsiteY43" fmla="*/ 158531 h 317722"/>
                    <a:gd name="connsiteX44" fmla="*/ 197607 w 339944"/>
                    <a:gd name="connsiteY44" fmla="*/ 283128 h 317722"/>
                    <a:gd name="connsiteX45" fmla="*/ 143019 w 339944"/>
                    <a:gd name="connsiteY45" fmla="*/ 283128 h 317722"/>
                    <a:gd name="connsiteX46" fmla="*/ 143019 w 339944"/>
                    <a:gd name="connsiteY46" fmla="*/ 158531 h 317722"/>
                    <a:gd name="connsiteX47" fmla="*/ 154346 w 339944"/>
                    <a:gd name="connsiteY47" fmla="*/ 158531 h 317722"/>
                    <a:gd name="connsiteX48" fmla="*/ 154346 w 339944"/>
                    <a:gd name="connsiteY48" fmla="*/ 135877 h 317722"/>
                    <a:gd name="connsiteX49" fmla="*/ 186553 w 339944"/>
                    <a:gd name="connsiteY49" fmla="*/ 135877 h 317722"/>
                    <a:gd name="connsiteX50" fmla="*/ 186553 w 339944"/>
                    <a:gd name="connsiteY50" fmla="*/ 158531 h 317722"/>
                    <a:gd name="connsiteX51" fmla="*/ 143019 w 339944"/>
                    <a:gd name="connsiteY51" fmla="*/ 147204 h 317722"/>
                    <a:gd name="connsiteX52" fmla="*/ 108902 w 339944"/>
                    <a:gd name="connsiteY52" fmla="*/ 147204 h 317722"/>
                    <a:gd name="connsiteX53" fmla="*/ 108902 w 339944"/>
                    <a:gd name="connsiteY53" fmla="*/ 135877 h 317722"/>
                    <a:gd name="connsiteX54" fmla="*/ 143019 w 339944"/>
                    <a:gd name="connsiteY54" fmla="*/ 135877 h 317722"/>
                    <a:gd name="connsiteX55" fmla="*/ 131693 w 339944"/>
                    <a:gd name="connsiteY55" fmla="*/ 158531 h 317722"/>
                    <a:gd name="connsiteX56" fmla="*/ 131693 w 339944"/>
                    <a:gd name="connsiteY56" fmla="*/ 283128 h 317722"/>
                    <a:gd name="connsiteX57" fmla="*/ 120366 w 339944"/>
                    <a:gd name="connsiteY57" fmla="*/ 283128 h 317722"/>
                    <a:gd name="connsiteX58" fmla="*/ 120366 w 339944"/>
                    <a:gd name="connsiteY58" fmla="*/ 158531 h 317722"/>
                    <a:gd name="connsiteX59" fmla="*/ 283719 w 339944"/>
                    <a:gd name="connsiteY59" fmla="*/ 158531 h 317722"/>
                    <a:gd name="connsiteX60" fmla="*/ 283719 w 339944"/>
                    <a:gd name="connsiteY60" fmla="*/ 283128 h 317722"/>
                    <a:gd name="connsiteX61" fmla="*/ 231861 w 339944"/>
                    <a:gd name="connsiteY61" fmla="*/ 283128 h 317722"/>
                    <a:gd name="connsiteX62" fmla="*/ 231861 w 339944"/>
                    <a:gd name="connsiteY62" fmla="*/ 158531 h 317722"/>
                    <a:gd name="connsiteX63" fmla="*/ 243188 w 339944"/>
                    <a:gd name="connsiteY63" fmla="*/ 158531 h 317722"/>
                    <a:gd name="connsiteX64" fmla="*/ 243188 w 339944"/>
                    <a:gd name="connsiteY64" fmla="*/ 135877 h 317722"/>
                    <a:gd name="connsiteX65" fmla="*/ 272392 w 339944"/>
                    <a:gd name="connsiteY65" fmla="*/ 135877 h 317722"/>
                    <a:gd name="connsiteX66" fmla="*/ 272392 w 339944"/>
                    <a:gd name="connsiteY66" fmla="*/ 158531 h 317722"/>
                    <a:gd name="connsiteX67" fmla="*/ 231861 w 339944"/>
                    <a:gd name="connsiteY67" fmla="*/ 147204 h 317722"/>
                    <a:gd name="connsiteX68" fmla="*/ 197744 w 339944"/>
                    <a:gd name="connsiteY68" fmla="*/ 147204 h 317722"/>
                    <a:gd name="connsiteX69" fmla="*/ 197744 w 339944"/>
                    <a:gd name="connsiteY69" fmla="*/ 135877 h 317722"/>
                    <a:gd name="connsiteX70" fmla="*/ 231861 w 339944"/>
                    <a:gd name="connsiteY70" fmla="*/ 135877 h 317722"/>
                    <a:gd name="connsiteX71" fmla="*/ 220534 w 339944"/>
                    <a:gd name="connsiteY71" fmla="*/ 158531 h 317722"/>
                    <a:gd name="connsiteX72" fmla="*/ 220534 w 339944"/>
                    <a:gd name="connsiteY72" fmla="*/ 283128 h 317722"/>
                    <a:gd name="connsiteX73" fmla="*/ 209207 w 339944"/>
                    <a:gd name="connsiteY73" fmla="*/ 283128 h 317722"/>
                    <a:gd name="connsiteX74" fmla="*/ 209207 w 339944"/>
                    <a:gd name="connsiteY74" fmla="*/ 158531 h 317722"/>
                    <a:gd name="connsiteX75" fmla="*/ 295046 w 339944"/>
                    <a:gd name="connsiteY75" fmla="*/ 283128 h 317722"/>
                    <a:gd name="connsiteX76" fmla="*/ 295046 w 339944"/>
                    <a:gd name="connsiteY76" fmla="*/ 158531 h 317722"/>
                    <a:gd name="connsiteX77" fmla="*/ 306373 w 339944"/>
                    <a:gd name="connsiteY77" fmla="*/ 158531 h 317722"/>
                    <a:gd name="connsiteX78" fmla="*/ 306373 w 339944"/>
                    <a:gd name="connsiteY78" fmla="*/ 283128 h 317722"/>
                    <a:gd name="connsiteX79" fmla="*/ 317700 w 339944"/>
                    <a:gd name="connsiteY79" fmla="*/ 147204 h 317722"/>
                    <a:gd name="connsiteX80" fmla="*/ 283583 w 339944"/>
                    <a:gd name="connsiteY80" fmla="*/ 147204 h 317722"/>
                    <a:gd name="connsiteX81" fmla="*/ 283583 w 339944"/>
                    <a:gd name="connsiteY81" fmla="*/ 135877 h 317722"/>
                    <a:gd name="connsiteX82" fmla="*/ 317700 w 339944"/>
                    <a:gd name="connsiteY82" fmla="*/ 135877 h 317722"/>
                    <a:gd name="connsiteX83" fmla="*/ 329027 w 339944"/>
                    <a:gd name="connsiteY83" fmla="*/ 124551 h 317722"/>
                    <a:gd name="connsiteX84" fmla="*/ 11532 w 339944"/>
                    <a:gd name="connsiteY84" fmla="*/ 124551 h 317722"/>
                    <a:gd name="connsiteX85" fmla="*/ 11532 w 339944"/>
                    <a:gd name="connsiteY85" fmla="*/ 113224 h 317722"/>
                    <a:gd name="connsiteX86" fmla="*/ 328617 w 339944"/>
                    <a:gd name="connsiteY86" fmla="*/ 113224 h 31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39944" h="317722">
                      <a:moveTo>
                        <a:pt x="172975" y="978"/>
                      </a:moveTo>
                      <a:cubicBezTo>
                        <a:pt x="171085" y="-326"/>
                        <a:pt x="168586" y="-326"/>
                        <a:pt x="166697" y="978"/>
                      </a:cubicBezTo>
                      <a:lnTo>
                        <a:pt x="15284" y="101897"/>
                      </a:lnTo>
                      <a:lnTo>
                        <a:pt x="0" y="101897"/>
                      </a:lnTo>
                      <a:lnTo>
                        <a:pt x="0" y="136014"/>
                      </a:lnTo>
                      <a:lnTo>
                        <a:pt x="11532" y="136014"/>
                      </a:lnTo>
                      <a:lnTo>
                        <a:pt x="11532" y="158668"/>
                      </a:lnTo>
                      <a:lnTo>
                        <a:pt x="22859" y="158668"/>
                      </a:lnTo>
                      <a:lnTo>
                        <a:pt x="22859" y="283264"/>
                      </a:lnTo>
                      <a:lnTo>
                        <a:pt x="11532" y="283264"/>
                      </a:lnTo>
                      <a:lnTo>
                        <a:pt x="11532" y="317723"/>
                      </a:lnTo>
                      <a:lnTo>
                        <a:pt x="328617" y="317723"/>
                      </a:lnTo>
                      <a:lnTo>
                        <a:pt x="328617" y="283264"/>
                      </a:lnTo>
                      <a:lnTo>
                        <a:pt x="317291" y="283264"/>
                      </a:lnTo>
                      <a:lnTo>
                        <a:pt x="317291" y="158531"/>
                      </a:lnTo>
                      <a:lnTo>
                        <a:pt x="328617" y="158531"/>
                      </a:lnTo>
                      <a:lnTo>
                        <a:pt x="328617" y="135877"/>
                      </a:lnTo>
                      <a:lnTo>
                        <a:pt x="339944" y="135877"/>
                      </a:lnTo>
                      <a:lnTo>
                        <a:pt x="339944" y="101760"/>
                      </a:lnTo>
                      <a:lnTo>
                        <a:pt x="324592" y="101760"/>
                      </a:lnTo>
                      <a:close/>
                      <a:moveTo>
                        <a:pt x="169836" y="12714"/>
                      </a:moveTo>
                      <a:lnTo>
                        <a:pt x="304053" y="102170"/>
                      </a:lnTo>
                      <a:lnTo>
                        <a:pt x="35687" y="102170"/>
                      </a:lnTo>
                      <a:close/>
                      <a:moveTo>
                        <a:pt x="22654" y="294727"/>
                      </a:moveTo>
                      <a:lnTo>
                        <a:pt x="317086" y="294727"/>
                      </a:lnTo>
                      <a:lnTo>
                        <a:pt x="317086" y="306123"/>
                      </a:lnTo>
                      <a:lnTo>
                        <a:pt x="22654" y="306123"/>
                      </a:lnTo>
                      <a:close/>
                      <a:moveTo>
                        <a:pt x="108425" y="158804"/>
                      </a:moveTo>
                      <a:lnTo>
                        <a:pt x="108425" y="283401"/>
                      </a:lnTo>
                      <a:lnTo>
                        <a:pt x="56635" y="283401"/>
                      </a:lnTo>
                      <a:lnTo>
                        <a:pt x="56635" y="158531"/>
                      </a:lnTo>
                      <a:lnTo>
                        <a:pt x="67962" y="158531"/>
                      </a:lnTo>
                      <a:lnTo>
                        <a:pt x="67962" y="135877"/>
                      </a:lnTo>
                      <a:lnTo>
                        <a:pt x="97098" y="135877"/>
                      </a:lnTo>
                      <a:lnTo>
                        <a:pt x="97098" y="158531"/>
                      </a:lnTo>
                      <a:close/>
                      <a:moveTo>
                        <a:pt x="56635" y="147477"/>
                      </a:moveTo>
                      <a:lnTo>
                        <a:pt x="22517" y="147477"/>
                      </a:lnTo>
                      <a:lnTo>
                        <a:pt x="22517" y="136150"/>
                      </a:lnTo>
                      <a:lnTo>
                        <a:pt x="56635" y="136150"/>
                      </a:lnTo>
                      <a:close/>
                      <a:moveTo>
                        <a:pt x="45649" y="158531"/>
                      </a:moveTo>
                      <a:lnTo>
                        <a:pt x="45649" y="283128"/>
                      </a:lnTo>
                      <a:lnTo>
                        <a:pt x="34322" y="283128"/>
                      </a:lnTo>
                      <a:lnTo>
                        <a:pt x="34322" y="158531"/>
                      </a:lnTo>
                      <a:close/>
                      <a:moveTo>
                        <a:pt x="197607" y="158531"/>
                      </a:moveTo>
                      <a:lnTo>
                        <a:pt x="197607" y="283128"/>
                      </a:lnTo>
                      <a:lnTo>
                        <a:pt x="143019" y="283128"/>
                      </a:lnTo>
                      <a:lnTo>
                        <a:pt x="143019" y="158531"/>
                      </a:lnTo>
                      <a:lnTo>
                        <a:pt x="154346" y="158531"/>
                      </a:lnTo>
                      <a:lnTo>
                        <a:pt x="154346" y="135877"/>
                      </a:lnTo>
                      <a:lnTo>
                        <a:pt x="186553" y="135877"/>
                      </a:lnTo>
                      <a:lnTo>
                        <a:pt x="186553" y="158531"/>
                      </a:lnTo>
                      <a:close/>
                      <a:moveTo>
                        <a:pt x="143019" y="147204"/>
                      </a:moveTo>
                      <a:lnTo>
                        <a:pt x="108902" y="147204"/>
                      </a:lnTo>
                      <a:lnTo>
                        <a:pt x="108902" y="135877"/>
                      </a:lnTo>
                      <a:lnTo>
                        <a:pt x="143019" y="135877"/>
                      </a:lnTo>
                      <a:close/>
                      <a:moveTo>
                        <a:pt x="131693" y="158531"/>
                      </a:moveTo>
                      <a:lnTo>
                        <a:pt x="131693" y="283128"/>
                      </a:lnTo>
                      <a:lnTo>
                        <a:pt x="120366" y="283128"/>
                      </a:lnTo>
                      <a:lnTo>
                        <a:pt x="120366" y="158531"/>
                      </a:lnTo>
                      <a:close/>
                      <a:moveTo>
                        <a:pt x="283719" y="158531"/>
                      </a:moveTo>
                      <a:lnTo>
                        <a:pt x="283719" y="283128"/>
                      </a:lnTo>
                      <a:lnTo>
                        <a:pt x="231861" y="283128"/>
                      </a:lnTo>
                      <a:lnTo>
                        <a:pt x="231861" y="158531"/>
                      </a:lnTo>
                      <a:lnTo>
                        <a:pt x="243188" y="158531"/>
                      </a:lnTo>
                      <a:lnTo>
                        <a:pt x="243188" y="135877"/>
                      </a:lnTo>
                      <a:lnTo>
                        <a:pt x="272392" y="135877"/>
                      </a:lnTo>
                      <a:lnTo>
                        <a:pt x="272392" y="158531"/>
                      </a:lnTo>
                      <a:close/>
                      <a:moveTo>
                        <a:pt x="231861" y="147204"/>
                      </a:moveTo>
                      <a:lnTo>
                        <a:pt x="197744" y="147204"/>
                      </a:lnTo>
                      <a:lnTo>
                        <a:pt x="197744" y="135877"/>
                      </a:lnTo>
                      <a:lnTo>
                        <a:pt x="231861" y="135877"/>
                      </a:lnTo>
                      <a:close/>
                      <a:moveTo>
                        <a:pt x="220534" y="158531"/>
                      </a:moveTo>
                      <a:lnTo>
                        <a:pt x="220534" y="283128"/>
                      </a:lnTo>
                      <a:lnTo>
                        <a:pt x="209207" y="283128"/>
                      </a:lnTo>
                      <a:lnTo>
                        <a:pt x="209207" y="158531"/>
                      </a:lnTo>
                      <a:close/>
                      <a:moveTo>
                        <a:pt x="295046" y="283128"/>
                      </a:moveTo>
                      <a:lnTo>
                        <a:pt x="295046" y="158531"/>
                      </a:lnTo>
                      <a:lnTo>
                        <a:pt x="306373" y="158531"/>
                      </a:lnTo>
                      <a:lnTo>
                        <a:pt x="306373" y="283128"/>
                      </a:lnTo>
                      <a:close/>
                      <a:moveTo>
                        <a:pt x="317700" y="147204"/>
                      </a:moveTo>
                      <a:lnTo>
                        <a:pt x="283583" y="147204"/>
                      </a:lnTo>
                      <a:lnTo>
                        <a:pt x="283583" y="135877"/>
                      </a:lnTo>
                      <a:lnTo>
                        <a:pt x="317700" y="135877"/>
                      </a:lnTo>
                      <a:close/>
                      <a:moveTo>
                        <a:pt x="329027" y="124551"/>
                      </a:moveTo>
                      <a:lnTo>
                        <a:pt x="11532" y="124551"/>
                      </a:lnTo>
                      <a:lnTo>
                        <a:pt x="11532" y="113224"/>
                      </a:lnTo>
                      <a:lnTo>
                        <a:pt x="328617" y="113224"/>
                      </a:lnTo>
                      <a:close/>
                    </a:path>
                  </a:pathLst>
                </a:custGeom>
                <a:solidFill>
                  <a:srgbClr val="FFFFFF"/>
                </a:solidFill>
                <a:ln w="6816" cap="flat">
                  <a:noFill/>
                  <a:prstDash val="solid"/>
                  <a:miter/>
                </a:ln>
              </p:spPr>
              <p:txBody>
                <a:bodyPr rtlCol="0" anchor="ctr"/>
                <a:lstStyle/>
                <a:p>
                  <a:endParaRPr lang="en-SG" sz="1059"/>
                </a:p>
              </p:txBody>
            </p:sp>
          </p:grpSp>
          <p:sp>
            <p:nvSpPr>
              <p:cNvPr id="24" name="TextBox 23">
                <a:extLst>
                  <a:ext uri="{FF2B5EF4-FFF2-40B4-BE49-F238E27FC236}">
                    <a16:creationId xmlns:a16="http://schemas.microsoft.com/office/drawing/2014/main" xmlns="" id="{07DDAC95-F3CF-44FB-9AFA-91529F00DC3E}"/>
                  </a:ext>
                </a:extLst>
              </p:cNvPr>
              <p:cNvSpPr txBox="1"/>
              <p:nvPr/>
            </p:nvSpPr>
            <p:spPr>
              <a:xfrm>
                <a:off x="3777268" y="3256458"/>
                <a:ext cx="915415" cy="422343"/>
              </a:xfrm>
              <a:prstGeom prst="rect">
                <a:avLst/>
              </a:prstGeom>
              <a:noFill/>
            </p:spPr>
            <p:txBody>
              <a:bodyPr wrap="square" rtlCol="0">
                <a:spAutoFit/>
              </a:bodyPr>
              <a:lstStyle/>
              <a:p>
                <a:pPr algn="ctr"/>
                <a:r>
                  <a:rPr lang="en-US" sz="900" b="1" dirty="0">
                    <a:solidFill>
                      <a:srgbClr val="E48D2F"/>
                    </a:solidFill>
                    <a:latin typeface="Arsenal" panose="00000500000000000000" pitchFamily="2" charset="0"/>
                  </a:rPr>
                  <a:t>Strong Institutions</a:t>
                </a:r>
                <a:endParaRPr lang="en-SG" sz="900" b="1" dirty="0">
                  <a:solidFill>
                    <a:srgbClr val="E48D2F"/>
                  </a:solidFill>
                  <a:latin typeface="Arsenal" panose="00000500000000000000" pitchFamily="2" charset="0"/>
                </a:endParaRPr>
              </a:p>
            </p:txBody>
          </p:sp>
          <p:sp>
            <p:nvSpPr>
              <p:cNvPr id="25" name="Freeform: Shape 24">
                <a:extLst>
                  <a:ext uri="{FF2B5EF4-FFF2-40B4-BE49-F238E27FC236}">
                    <a16:creationId xmlns:a16="http://schemas.microsoft.com/office/drawing/2014/main" xmlns="" id="{4C4D7CC2-0754-4AF7-AA82-482419639A65}"/>
                  </a:ext>
                </a:extLst>
              </p:cNvPr>
              <p:cNvSpPr/>
              <p:nvPr/>
            </p:nvSpPr>
            <p:spPr>
              <a:xfrm>
                <a:off x="4869905" y="3709612"/>
                <a:ext cx="978551" cy="3348651"/>
              </a:xfrm>
              <a:custGeom>
                <a:avLst/>
                <a:gdLst>
                  <a:gd name="connsiteX0" fmla="*/ 96483 w 978551"/>
                  <a:gd name="connsiteY0" fmla="*/ 273 h 2899011"/>
                  <a:gd name="connsiteX1" fmla="*/ 0 w 978551"/>
                  <a:gd name="connsiteY1" fmla="*/ 84543 h 2899011"/>
                  <a:gd name="connsiteX2" fmla="*/ 0 w 978551"/>
                  <a:gd name="connsiteY2" fmla="*/ 2814810 h 2899011"/>
                  <a:gd name="connsiteX3" fmla="*/ 96483 w 978551"/>
                  <a:gd name="connsiteY3" fmla="*/ 2899012 h 2899011"/>
                  <a:gd name="connsiteX4" fmla="*/ 882136 w 978551"/>
                  <a:gd name="connsiteY4" fmla="*/ 2899012 h 2899011"/>
                  <a:gd name="connsiteX5" fmla="*/ 978551 w 978551"/>
                  <a:gd name="connsiteY5" fmla="*/ 2814810 h 2899011"/>
                  <a:gd name="connsiteX6" fmla="*/ 978551 w 978551"/>
                  <a:gd name="connsiteY6" fmla="*/ 84270 h 2899011"/>
                  <a:gd name="connsiteX7" fmla="*/ 882136 w 978551"/>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551" h="2899011">
                    <a:moveTo>
                      <a:pt x="96483" y="273"/>
                    </a:moveTo>
                    <a:cubicBezTo>
                      <a:pt x="43192" y="273"/>
                      <a:pt x="0" y="38007"/>
                      <a:pt x="0" y="84543"/>
                    </a:cubicBezTo>
                    <a:lnTo>
                      <a:pt x="0" y="2814810"/>
                    </a:lnTo>
                    <a:cubicBezTo>
                      <a:pt x="0" y="2861346"/>
                      <a:pt x="43192" y="2899012"/>
                      <a:pt x="96483" y="2899012"/>
                    </a:cubicBezTo>
                    <a:lnTo>
                      <a:pt x="882136" y="2899012"/>
                    </a:lnTo>
                    <a:cubicBezTo>
                      <a:pt x="935358" y="2899012"/>
                      <a:pt x="978551" y="2861346"/>
                      <a:pt x="978551" y="2814810"/>
                    </a:cubicBezTo>
                    <a:lnTo>
                      <a:pt x="978551" y="84270"/>
                    </a:lnTo>
                    <a:cubicBezTo>
                      <a:pt x="978551" y="37734"/>
                      <a:pt x="935358" y="0"/>
                      <a:pt x="882136" y="0"/>
                    </a:cubicBezTo>
                    <a:close/>
                  </a:path>
                </a:pathLst>
              </a:custGeom>
              <a:solidFill>
                <a:srgbClr val="038C8C">
                  <a:alpha val="10000"/>
                </a:srgbClr>
              </a:solidFill>
              <a:ln w="6816" cap="flat">
                <a:noFill/>
                <a:prstDash val="solid"/>
                <a:miter/>
              </a:ln>
            </p:spPr>
            <p:txBody>
              <a:bodyPr rtlCol="0" anchor="ctr"/>
              <a:lstStyle/>
              <a:p>
                <a:endParaRPr lang="en-SG" sz="1059"/>
              </a:p>
            </p:txBody>
          </p:sp>
          <p:sp>
            <p:nvSpPr>
              <p:cNvPr id="26" name="object 23">
                <a:extLst>
                  <a:ext uri="{FF2B5EF4-FFF2-40B4-BE49-F238E27FC236}">
                    <a16:creationId xmlns:a16="http://schemas.microsoft.com/office/drawing/2014/main" xmlns="" id="{826561EB-13ED-468A-BA10-68C61EEE0AA6}"/>
                  </a:ext>
                </a:extLst>
              </p:cNvPr>
              <p:cNvSpPr txBox="1"/>
              <p:nvPr/>
            </p:nvSpPr>
            <p:spPr>
              <a:xfrm>
                <a:off x="4961063" y="3749165"/>
                <a:ext cx="796233" cy="1506304"/>
              </a:xfrm>
              <a:prstGeom prst="rect">
                <a:avLst/>
              </a:prstGeom>
            </p:spPr>
            <p:txBody>
              <a:bodyPr vert="horz" wrap="square" lIns="0" tIns="24338" rIns="0" bIns="0" rtlCol="0">
                <a:spAutoFit/>
              </a:bodyPr>
              <a:lstStyle/>
              <a:p>
                <a:pPr marL="9361" marR="3744" indent="-468" algn="ctr">
                  <a:spcBef>
                    <a:spcPts val="442"/>
                  </a:spcBef>
                  <a:spcAft>
                    <a:spcPts val="442"/>
                  </a:spcAft>
                </a:pPr>
                <a:r>
                  <a:rPr lang="en-SG" sz="800" dirty="0">
                    <a:solidFill>
                      <a:srgbClr val="231F20"/>
                    </a:solidFill>
                    <a:latin typeface="Arsenal"/>
                    <a:cs typeface="Arsenal"/>
                  </a:rPr>
                  <a:t>Go</a:t>
                </a:r>
                <a:r>
                  <a:rPr lang="en-SG" sz="800" spc="-7" dirty="0">
                    <a:solidFill>
                      <a:srgbClr val="231F20"/>
                    </a:solidFill>
                    <a:latin typeface="Arsenal"/>
                    <a:cs typeface="Arsenal"/>
                  </a:rPr>
                  <a:t>v</a:t>
                </a:r>
                <a:r>
                  <a:rPr lang="en-SG" sz="800" dirty="0">
                    <a:solidFill>
                      <a:srgbClr val="231F20"/>
                    </a:solidFill>
                    <a:latin typeface="Arsenal"/>
                    <a:cs typeface="Arsenal"/>
                  </a:rPr>
                  <a:t>ernment  Debt</a:t>
                </a:r>
              </a:p>
              <a:p>
                <a:pPr marL="9361" marR="3744" indent="-468" algn="ctr">
                  <a:spcBef>
                    <a:spcPts val="442"/>
                  </a:spcBef>
                  <a:spcAft>
                    <a:spcPts val="442"/>
                  </a:spcAft>
                </a:pPr>
                <a:r>
                  <a:rPr lang="en-SG" sz="800" dirty="0">
                    <a:solidFill>
                      <a:srgbClr val="231F20"/>
                    </a:solidFill>
                    <a:latin typeface="Arsenal"/>
                    <a:cs typeface="Arsenal"/>
                  </a:rPr>
                  <a:t>Country </a:t>
                </a:r>
                <a:r>
                  <a:rPr lang="en-SG" sz="800" spc="4" dirty="0">
                    <a:solidFill>
                      <a:srgbClr val="231F20"/>
                    </a:solidFill>
                    <a:latin typeface="Arsenal"/>
                    <a:cs typeface="Arsenal"/>
                  </a:rPr>
                  <a:t> </a:t>
                </a:r>
                <a:r>
                  <a:rPr lang="en-SG" sz="800" dirty="0">
                    <a:solidFill>
                      <a:srgbClr val="231F20"/>
                    </a:solidFill>
                    <a:latin typeface="Arsenal"/>
                    <a:cs typeface="Arsenal"/>
                  </a:rPr>
                  <a:t>Budget Surplus</a:t>
                </a:r>
              </a:p>
              <a:p>
                <a:pPr marL="9361" marR="3744" indent="-468" algn="ctr">
                  <a:spcBef>
                    <a:spcPts val="442"/>
                  </a:spcBef>
                  <a:spcAft>
                    <a:spcPts val="442"/>
                  </a:spcAft>
                </a:pPr>
                <a:r>
                  <a:rPr sz="800" spc="-4" dirty="0">
                    <a:solidFill>
                      <a:srgbClr val="231F20"/>
                    </a:solidFill>
                    <a:latin typeface="Arsenal"/>
                    <a:cs typeface="Arsenal"/>
                  </a:rPr>
                  <a:t>Efficient</a:t>
                </a:r>
                <a:r>
                  <a:rPr lang="en-SG" sz="800" spc="-4" dirty="0">
                    <a:solidFill>
                      <a:srgbClr val="231F20"/>
                    </a:solidFill>
                    <a:latin typeface="Arsenal"/>
                    <a:cs typeface="Arsenal"/>
                  </a:rPr>
                  <a:t> </a:t>
                </a:r>
                <a:r>
                  <a:rPr sz="800" dirty="0">
                    <a:solidFill>
                      <a:srgbClr val="231F20"/>
                    </a:solidFill>
                    <a:latin typeface="Arsenal"/>
                    <a:cs typeface="Arsenal"/>
                  </a:rPr>
                  <a:t>Spending</a:t>
                </a:r>
                <a:endParaRPr lang="en-US" sz="800" dirty="0">
                  <a:solidFill>
                    <a:srgbClr val="231F20"/>
                  </a:solidFill>
                  <a:latin typeface="Arsenal"/>
                  <a:cs typeface="Arsenal"/>
                </a:endParaRPr>
              </a:p>
              <a:p>
                <a:pPr marL="36041" marR="30424" algn="ctr">
                  <a:spcBef>
                    <a:spcPts val="442"/>
                  </a:spcBef>
                  <a:spcAft>
                    <a:spcPts val="442"/>
                  </a:spcAft>
                </a:pPr>
                <a:r>
                  <a:rPr lang="en-US" sz="800" dirty="0">
                    <a:solidFill>
                      <a:srgbClr val="231F20"/>
                    </a:solidFill>
                    <a:latin typeface="Arsenal"/>
                  </a:rPr>
                  <a:t>Country Risk Premium </a:t>
                </a:r>
              </a:p>
            </p:txBody>
          </p:sp>
          <p:sp>
            <p:nvSpPr>
              <p:cNvPr id="27" name="TextBox 26">
                <a:extLst>
                  <a:ext uri="{FF2B5EF4-FFF2-40B4-BE49-F238E27FC236}">
                    <a16:creationId xmlns:a16="http://schemas.microsoft.com/office/drawing/2014/main" xmlns="" id="{1257ACD3-8823-4C2E-B8F5-AE0294855EC4}"/>
                  </a:ext>
                </a:extLst>
              </p:cNvPr>
              <p:cNvSpPr txBox="1"/>
              <p:nvPr/>
            </p:nvSpPr>
            <p:spPr>
              <a:xfrm>
                <a:off x="5027937" y="2207449"/>
                <a:ext cx="747276" cy="290647"/>
              </a:xfrm>
              <a:prstGeom prst="rect">
                <a:avLst/>
              </a:prstGeom>
              <a:noFill/>
            </p:spPr>
            <p:txBody>
              <a:bodyPr wrap="none" rtlCol="0">
                <a:spAutoFit/>
              </a:bodyPr>
              <a:lstStyle/>
              <a:p>
                <a:pPr algn="l"/>
                <a:r>
                  <a:rPr lang="en-SG" sz="792" b="1" spc="15">
                    <a:solidFill>
                      <a:srgbClr val="283750"/>
                    </a:solidFill>
                    <a:latin typeface="Arsenal-Bold"/>
                    <a:sym typeface="Arsenal-Bold"/>
                    <a:rtl val="0"/>
                  </a:rPr>
                  <a:t>PILLARS</a:t>
                </a:r>
              </a:p>
            </p:txBody>
          </p:sp>
          <p:grpSp>
            <p:nvGrpSpPr>
              <p:cNvPr id="28" name="Group 27">
                <a:extLst>
                  <a:ext uri="{FF2B5EF4-FFF2-40B4-BE49-F238E27FC236}">
                    <a16:creationId xmlns:a16="http://schemas.microsoft.com/office/drawing/2014/main" xmlns="" id="{669A4B14-9669-444C-8F45-727981666046}"/>
                  </a:ext>
                </a:extLst>
              </p:cNvPr>
              <p:cNvGrpSpPr/>
              <p:nvPr/>
            </p:nvGrpSpPr>
            <p:grpSpPr>
              <a:xfrm>
                <a:off x="5110370" y="2662652"/>
                <a:ext cx="553654" cy="553654"/>
                <a:chOff x="5092786" y="2732858"/>
                <a:chExt cx="553654" cy="553654"/>
              </a:xfrm>
            </p:grpSpPr>
            <p:sp>
              <p:nvSpPr>
                <p:cNvPr id="51" name="Freeform: Shape 50">
                  <a:extLst>
                    <a:ext uri="{FF2B5EF4-FFF2-40B4-BE49-F238E27FC236}">
                      <a16:creationId xmlns:a16="http://schemas.microsoft.com/office/drawing/2014/main" xmlns="" id="{9CC32DE1-F044-4378-8918-3AB852362E76}"/>
                    </a:ext>
                  </a:extLst>
                </p:cNvPr>
                <p:cNvSpPr/>
                <p:nvPr/>
              </p:nvSpPr>
              <p:spPr>
                <a:xfrm>
                  <a:off x="5092786" y="2732858"/>
                  <a:ext cx="553654" cy="553654"/>
                </a:xfrm>
                <a:custGeom>
                  <a:avLst/>
                  <a:gdLst>
                    <a:gd name="connsiteX0" fmla="*/ 553655 w 553654"/>
                    <a:gd name="connsiteY0" fmla="*/ 276827 h 553654"/>
                    <a:gd name="connsiteX1" fmla="*/ 276827 w 553654"/>
                    <a:gd name="connsiteY1" fmla="*/ 553655 h 553654"/>
                    <a:gd name="connsiteX2" fmla="*/ 0 w 553654"/>
                    <a:gd name="connsiteY2" fmla="*/ 276827 h 553654"/>
                    <a:gd name="connsiteX3" fmla="*/ 276827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7" y="553655"/>
                      </a:cubicBezTo>
                      <a:cubicBezTo>
                        <a:pt x="123940" y="553655"/>
                        <a:pt x="0" y="429715"/>
                        <a:pt x="0" y="276827"/>
                      </a:cubicBezTo>
                      <a:cubicBezTo>
                        <a:pt x="0" y="123940"/>
                        <a:pt x="123940" y="0"/>
                        <a:pt x="276827" y="0"/>
                      </a:cubicBezTo>
                      <a:cubicBezTo>
                        <a:pt x="429715" y="0"/>
                        <a:pt x="553655" y="123940"/>
                        <a:pt x="553655" y="276827"/>
                      </a:cubicBezTo>
                      <a:close/>
                    </a:path>
                  </a:pathLst>
                </a:custGeom>
                <a:solidFill>
                  <a:srgbClr val="038C8C"/>
                </a:solidFill>
                <a:ln w="6816" cap="flat">
                  <a:noFill/>
                  <a:prstDash val="solid"/>
                  <a:miter/>
                </a:ln>
              </p:spPr>
              <p:txBody>
                <a:bodyPr rtlCol="0" anchor="ctr"/>
                <a:lstStyle/>
                <a:p>
                  <a:endParaRPr lang="en-SG" sz="1059"/>
                </a:p>
              </p:txBody>
            </p:sp>
            <p:sp>
              <p:nvSpPr>
                <p:cNvPr id="52" name="Freeform: Shape 51">
                  <a:extLst>
                    <a:ext uri="{FF2B5EF4-FFF2-40B4-BE49-F238E27FC236}">
                      <a16:creationId xmlns:a16="http://schemas.microsoft.com/office/drawing/2014/main" xmlns="" id="{86962BB6-8796-4E7C-BB71-D028829FF447}"/>
                    </a:ext>
                  </a:extLst>
                </p:cNvPr>
                <p:cNvSpPr/>
                <p:nvPr/>
              </p:nvSpPr>
              <p:spPr>
                <a:xfrm>
                  <a:off x="5208074" y="2848215"/>
                  <a:ext cx="323478" cy="323479"/>
                </a:xfrm>
                <a:custGeom>
                  <a:avLst/>
                  <a:gdLst>
                    <a:gd name="connsiteX0" fmla="*/ 312473 w 323478"/>
                    <a:gd name="connsiteY0" fmla="*/ 263481 h 323479"/>
                    <a:gd name="connsiteX1" fmla="*/ 237415 w 323478"/>
                    <a:gd name="connsiteY1" fmla="*/ 188423 h 323479"/>
                    <a:gd name="connsiteX2" fmla="*/ 188423 w 323478"/>
                    <a:gd name="connsiteY2" fmla="*/ 16053 h 323479"/>
                    <a:gd name="connsiteX3" fmla="*/ 16053 w 323478"/>
                    <a:gd name="connsiteY3" fmla="*/ 65046 h 323479"/>
                    <a:gd name="connsiteX4" fmla="*/ 65046 w 323478"/>
                    <a:gd name="connsiteY4" fmla="*/ 237416 h 323479"/>
                    <a:gd name="connsiteX5" fmla="*/ 188423 w 323478"/>
                    <a:gd name="connsiteY5" fmla="*/ 237416 h 323479"/>
                    <a:gd name="connsiteX6" fmla="*/ 263481 w 323478"/>
                    <a:gd name="connsiteY6" fmla="*/ 312473 h 323479"/>
                    <a:gd name="connsiteX7" fmla="*/ 312473 w 323478"/>
                    <a:gd name="connsiteY7" fmla="*/ 314150 h 323479"/>
                    <a:gd name="connsiteX8" fmla="*/ 314150 w 323478"/>
                    <a:gd name="connsiteY8" fmla="*/ 265158 h 323479"/>
                    <a:gd name="connsiteX9" fmla="*/ 312473 w 323478"/>
                    <a:gd name="connsiteY9" fmla="*/ 263481 h 323479"/>
                    <a:gd name="connsiteX10" fmla="*/ 126875 w 323478"/>
                    <a:gd name="connsiteY10" fmla="*/ 234481 h 323479"/>
                    <a:gd name="connsiteX11" fmla="*/ 19338 w 323478"/>
                    <a:gd name="connsiteY11" fmla="*/ 126807 h 323479"/>
                    <a:gd name="connsiteX12" fmla="*/ 127011 w 323478"/>
                    <a:gd name="connsiteY12" fmla="*/ 19270 h 323479"/>
                    <a:gd name="connsiteX13" fmla="*/ 234549 w 323478"/>
                    <a:gd name="connsiteY13" fmla="*/ 126876 h 323479"/>
                    <a:gd name="connsiteX14" fmla="*/ 126875 w 323478"/>
                    <a:gd name="connsiteY14" fmla="*/ 234481 h 323479"/>
                    <a:gd name="connsiteX15" fmla="*/ 217900 w 323478"/>
                    <a:gd name="connsiteY15" fmla="*/ 240145 h 323479"/>
                    <a:gd name="connsiteX16" fmla="*/ 204253 w 323478"/>
                    <a:gd name="connsiteY16" fmla="*/ 226498 h 323479"/>
                    <a:gd name="connsiteX17" fmla="*/ 226498 w 323478"/>
                    <a:gd name="connsiteY17" fmla="*/ 204253 h 323479"/>
                    <a:gd name="connsiteX18" fmla="*/ 240145 w 323478"/>
                    <a:gd name="connsiteY18" fmla="*/ 217901 h 323479"/>
                    <a:gd name="connsiteX19" fmla="*/ 217900 w 323478"/>
                    <a:gd name="connsiteY19" fmla="*/ 240145 h 323479"/>
                    <a:gd name="connsiteX20" fmla="*/ 299167 w 323478"/>
                    <a:gd name="connsiteY20" fmla="*/ 299100 h 323479"/>
                    <a:gd name="connsiteX21" fmla="*/ 276855 w 323478"/>
                    <a:gd name="connsiteY21" fmla="*/ 299100 h 323479"/>
                    <a:gd name="connsiteX22" fmla="*/ 231342 w 323478"/>
                    <a:gd name="connsiteY22" fmla="*/ 253587 h 323479"/>
                    <a:gd name="connsiteX23" fmla="*/ 253655 w 323478"/>
                    <a:gd name="connsiteY23" fmla="*/ 231274 h 323479"/>
                    <a:gd name="connsiteX24" fmla="*/ 299167 w 323478"/>
                    <a:gd name="connsiteY24" fmla="*/ 276787 h 323479"/>
                    <a:gd name="connsiteX25" fmla="*/ 299167 w 323478"/>
                    <a:gd name="connsiteY25" fmla="*/ 299099 h 32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478" h="323479">
                      <a:moveTo>
                        <a:pt x="312473" y="263481"/>
                      </a:moveTo>
                      <a:lnTo>
                        <a:pt x="237415" y="188423"/>
                      </a:lnTo>
                      <a:cubicBezTo>
                        <a:pt x="271485" y="127296"/>
                        <a:pt x="249550" y="50123"/>
                        <a:pt x="188423" y="16053"/>
                      </a:cubicBezTo>
                      <a:cubicBezTo>
                        <a:pt x="127296" y="-18016"/>
                        <a:pt x="50123" y="3918"/>
                        <a:pt x="16053" y="65046"/>
                      </a:cubicBezTo>
                      <a:cubicBezTo>
                        <a:pt x="-18016" y="126173"/>
                        <a:pt x="3918" y="203346"/>
                        <a:pt x="65046" y="237416"/>
                      </a:cubicBezTo>
                      <a:cubicBezTo>
                        <a:pt x="103394" y="258789"/>
                        <a:pt x="150074" y="258789"/>
                        <a:pt x="188423" y="237416"/>
                      </a:cubicBezTo>
                      <a:lnTo>
                        <a:pt x="263481" y="312473"/>
                      </a:lnTo>
                      <a:cubicBezTo>
                        <a:pt x="276547" y="326465"/>
                        <a:pt x="298482" y="327216"/>
                        <a:pt x="312473" y="314150"/>
                      </a:cubicBezTo>
                      <a:cubicBezTo>
                        <a:pt x="326465" y="301085"/>
                        <a:pt x="327216" y="279150"/>
                        <a:pt x="314150" y="265158"/>
                      </a:cubicBezTo>
                      <a:cubicBezTo>
                        <a:pt x="313611" y="264580"/>
                        <a:pt x="313051" y="264021"/>
                        <a:pt x="312473" y="263481"/>
                      </a:cubicBezTo>
                      <a:close/>
                      <a:moveTo>
                        <a:pt x="126875" y="234481"/>
                      </a:moveTo>
                      <a:cubicBezTo>
                        <a:pt x="67446" y="234444"/>
                        <a:pt x="19300" y="186236"/>
                        <a:pt x="19338" y="126807"/>
                      </a:cubicBezTo>
                      <a:cubicBezTo>
                        <a:pt x="19375" y="67378"/>
                        <a:pt x="67583" y="19232"/>
                        <a:pt x="127011" y="19270"/>
                      </a:cubicBezTo>
                      <a:cubicBezTo>
                        <a:pt x="186414" y="19307"/>
                        <a:pt x="234549" y="67473"/>
                        <a:pt x="234549" y="126876"/>
                      </a:cubicBezTo>
                      <a:cubicBezTo>
                        <a:pt x="234474" y="186300"/>
                        <a:pt x="186300" y="234444"/>
                        <a:pt x="126875" y="234481"/>
                      </a:cubicBezTo>
                      <a:close/>
                      <a:moveTo>
                        <a:pt x="217900" y="240145"/>
                      </a:moveTo>
                      <a:lnTo>
                        <a:pt x="204253" y="226498"/>
                      </a:lnTo>
                      <a:cubicBezTo>
                        <a:pt x="212544" y="220013"/>
                        <a:pt x="220014" y="212544"/>
                        <a:pt x="226498" y="204253"/>
                      </a:cubicBezTo>
                      <a:lnTo>
                        <a:pt x="240145" y="217901"/>
                      </a:lnTo>
                      <a:cubicBezTo>
                        <a:pt x="233551" y="226093"/>
                        <a:pt x="226093" y="233551"/>
                        <a:pt x="217900" y="240145"/>
                      </a:cubicBezTo>
                      <a:close/>
                      <a:moveTo>
                        <a:pt x="299167" y="299100"/>
                      </a:moveTo>
                      <a:cubicBezTo>
                        <a:pt x="292979" y="305195"/>
                        <a:pt x="283043" y="305195"/>
                        <a:pt x="276855" y="299100"/>
                      </a:cubicBezTo>
                      <a:lnTo>
                        <a:pt x="231342" y="253587"/>
                      </a:lnTo>
                      <a:cubicBezTo>
                        <a:pt x="239463" y="246865"/>
                        <a:pt x="246933" y="239395"/>
                        <a:pt x="253655" y="231274"/>
                      </a:cubicBezTo>
                      <a:lnTo>
                        <a:pt x="299167" y="276787"/>
                      </a:lnTo>
                      <a:cubicBezTo>
                        <a:pt x="305300" y="282960"/>
                        <a:pt x="305300" y="292926"/>
                        <a:pt x="299167" y="299099"/>
                      </a:cubicBezTo>
                      <a:close/>
                    </a:path>
                  </a:pathLst>
                </a:custGeom>
                <a:solidFill>
                  <a:srgbClr val="FFFFFF"/>
                </a:solidFill>
                <a:ln w="2522" cap="flat">
                  <a:solidFill>
                    <a:srgbClr val="038C8C"/>
                  </a:solidFill>
                  <a:prstDash val="solid"/>
                  <a:miter/>
                </a:ln>
              </p:spPr>
              <p:txBody>
                <a:bodyPr rtlCol="0" anchor="ctr"/>
                <a:lstStyle/>
                <a:p>
                  <a:endParaRPr lang="en-SG" sz="1059"/>
                </a:p>
              </p:txBody>
            </p:sp>
            <p:sp>
              <p:nvSpPr>
                <p:cNvPr id="53" name="Freeform: Shape 52">
                  <a:extLst>
                    <a:ext uri="{FF2B5EF4-FFF2-40B4-BE49-F238E27FC236}">
                      <a16:creationId xmlns:a16="http://schemas.microsoft.com/office/drawing/2014/main" xmlns="" id="{59913AFD-FCB0-4429-B218-D7BA7C1AA6D9}"/>
                    </a:ext>
                  </a:extLst>
                </p:cNvPr>
                <p:cNvSpPr/>
                <p:nvPr/>
              </p:nvSpPr>
              <p:spPr>
                <a:xfrm>
                  <a:off x="5295305" y="2896416"/>
                  <a:ext cx="79083" cy="157621"/>
                </a:xfrm>
                <a:custGeom>
                  <a:avLst/>
                  <a:gdLst>
                    <a:gd name="connsiteX0" fmla="*/ 44352 w 79083"/>
                    <a:gd name="connsiteY0" fmla="*/ 69258 h 157621"/>
                    <a:gd name="connsiteX1" fmla="*/ 35004 w 79083"/>
                    <a:gd name="connsiteY1" fmla="*/ 69258 h 157621"/>
                    <a:gd name="connsiteX2" fmla="*/ 18099 w 79083"/>
                    <a:gd name="connsiteY2" fmla="*/ 54435 h 157621"/>
                    <a:gd name="connsiteX3" fmla="*/ 32922 w 79083"/>
                    <a:gd name="connsiteY3" fmla="*/ 37529 h 157621"/>
                    <a:gd name="connsiteX4" fmla="*/ 35004 w 79083"/>
                    <a:gd name="connsiteY4" fmla="*/ 37529 h 157621"/>
                    <a:gd name="connsiteX5" fmla="*/ 44352 w 79083"/>
                    <a:gd name="connsiteY5" fmla="*/ 37529 h 157621"/>
                    <a:gd name="connsiteX6" fmla="*/ 60251 w 79083"/>
                    <a:gd name="connsiteY6" fmla="*/ 53359 h 157621"/>
                    <a:gd name="connsiteX7" fmla="*/ 79084 w 79083"/>
                    <a:gd name="connsiteY7" fmla="*/ 53359 h 157621"/>
                    <a:gd name="connsiteX8" fmla="*/ 49129 w 79083"/>
                    <a:gd name="connsiteY8" fmla="*/ 19242 h 157621"/>
                    <a:gd name="connsiteX9" fmla="*/ 49129 w 79083"/>
                    <a:gd name="connsiteY9" fmla="*/ 0 h 157621"/>
                    <a:gd name="connsiteX10" fmla="*/ 30023 w 79083"/>
                    <a:gd name="connsiteY10" fmla="*/ 0 h 157621"/>
                    <a:gd name="connsiteX11" fmla="*/ 30023 w 79083"/>
                    <a:gd name="connsiteY11" fmla="*/ 19242 h 157621"/>
                    <a:gd name="connsiteX12" fmla="*/ 489 w 79083"/>
                    <a:gd name="connsiteY12" fmla="*/ 58488 h 157621"/>
                    <a:gd name="connsiteX13" fmla="*/ 34800 w 79083"/>
                    <a:gd name="connsiteY13" fmla="*/ 88364 h 157621"/>
                    <a:gd name="connsiteX14" fmla="*/ 44148 w 79083"/>
                    <a:gd name="connsiteY14" fmla="*/ 88364 h 157621"/>
                    <a:gd name="connsiteX15" fmla="*/ 60047 w 79083"/>
                    <a:gd name="connsiteY15" fmla="*/ 104262 h 157621"/>
                    <a:gd name="connsiteX16" fmla="*/ 44148 w 79083"/>
                    <a:gd name="connsiteY16" fmla="*/ 120161 h 157621"/>
                    <a:gd name="connsiteX17" fmla="*/ 34800 w 79083"/>
                    <a:gd name="connsiteY17" fmla="*/ 120161 h 157621"/>
                    <a:gd name="connsiteX18" fmla="*/ 18901 w 79083"/>
                    <a:gd name="connsiteY18" fmla="*/ 104263 h 157621"/>
                    <a:gd name="connsiteX19" fmla="*/ 0 w 79083"/>
                    <a:gd name="connsiteY19" fmla="*/ 104262 h 157621"/>
                    <a:gd name="connsiteX20" fmla="*/ 30023 w 79083"/>
                    <a:gd name="connsiteY20" fmla="*/ 138380 h 157621"/>
                    <a:gd name="connsiteX21" fmla="*/ 30023 w 79083"/>
                    <a:gd name="connsiteY21" fmla="*/ 157622 h 157621"/>
                    <a:gd name="connsiteX22" fmla="*/ 48924 w 79083"/>
                    <a:gd name="connsiteY22" fmla="*/ 157622 h 157621"/>
                    <a:gd name="connsiteX23" fmla="*/ 48924 w 79083"/>
                    <a:gd name="connsiteY23" fmla="*/ 138380 h 157621"/>
                    <a:gd name="connsiteX24" fmla="*/ 78459 w 79083"/>
                    <a:gd name="connsiteY24" fmla="*/ 99134 h 157621"/>
                    <a:gd name="connsiteX25" fmla="*/ 44148 w 79083"/>
                    <a:gd name="connsiteY25" fmla="*/ 69258 h 15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9083" h="157621">
                      <a:moveTo>
                        <a:pt x="44352" y="69258"/>
                      </a:moveTo>
                      <a:lnTo>
                        <a:pt x="35004" y="69258"/>
                      </a:lnTo>
                      <a:cubicBezTo>
                        <a:pt x="26243" y="69833"/>
                        <a:pt x="18674" y="63196"/>
                        <a:pt x="18099" y="54435"/>
                      </a:cubicBezTo>
                      <a:cubicBezTo>
                        <a:pt x="17524" y="45673"/>
                        <a:pt x="24161" y="38104"/>
                        <a:pt x="32922" y="37529"/>
                      </a:cubicBezTo>
                      <a:cubicBezTo>
                        <a:pt x="33616" y="37484"/>
                        <a:pt x="34311" y="37484"/>
                        <a:pt x="35004" y="37529"/>
                      </a:cubicBezTo>
                      <a:lnTo>
                        <a:pt x="44352" y="37529"/>
                      </a:lnTo>
                      <a:cubicBezTo>
                        <a:pt x="53106" y="37529"/>
                        <a:pt x="60214" y="44605"/>
                        <a:pt x="60251" y="53359"/>
                      </a:cubicBezTo>
                      <a:lnTo>
                        <a:pt x="79084" y="53359"/>
                      </a:lnTo>
                      <a:cubicBezTo>
                        <a:pt x="78943" y="36132"/>
                        <a:pt x="66194" y="21611"/>
                        <a:pt x="49129" y="19242"/>
                      </a:cubicBezTo>
                      <a:lnTo>
                        <a:pt x="49129" y="0"/>
                      </a:lnTo>
                      <a:lnTo>
                        <a:pt x="30023" y="0"/>
                      </a:lnTo>
                      <a:lnTo>
                        <a:pt x="30023" y="19242"/>
                      </a:lnTo>
                      <a:cubicBezTo>
                        <a:pt x="11030" y="21924"/>
                        <a:pt x="-2193" y="39495"/>
                        <a:pt x="489" y="58488"/>
                      </a:cubicBezTo>
                      <a:cubicBezTo>
                        <a:pt x="2904" y="75594"/>
                        <a:pt x="17524" y="88324"/>
                        <a:pt x="34800" y="88364"/>
                      </a:cubicBezTo>
                      <a:lnTo>
                        <a:pt x="44148" y="88364"/>
                      </a:lnTo>
                      <a:cubicBezTo>
                        <a:pt x="52928" y="88364"/>
                        <a:pt x="60047" y="95482"/>
                        <a:pt x="60047" y="104262"/>
                      </a:cubicBezTo>
                      <a:cubicBezTo>
                        <a:pt x="60047" y="113043"/>
                        <a:pt x="52929" y="120161"/>
                        <a:pt x="44148" y="120161"/>
                      </a:cubicBezTo>
                      <a:lnTo>
                        <a:pt x="34800" y="120161"/>
                      </a:lnTo>
                      <a:cubicBezTo>
                        <a:pt x="26019" y="120161"/>
                        <a:pt x="18901" y="113043"/>
                        <a:pt x="18901" y="104263"/>
                      </a:cubicBezTo>
                      <a:lnTo>
                        <a:pt x="0" y="104262"/>
                      </a:lnTo>
                      <a:cubicBezTo>
                        <a:pt x="175" y="121502"/>
                        <a:pt x="12946" y="136014"/>
                        <a:pt x="30023" y="138380"/>
                      </a:cubicBezTo>
                      <a:lnTo>
                        <a:pt x="30023" y="157622"/>
                      </a:lnTo>
                      <a:lnTo>
                        <a:pt x="48924" y="157622"/>
                      </a:lnTo>
                      <a:lnTo>
                        <a:pt x="48924" y="138380"/>
                      </a:lnTo>
                      <a:cubicBezTo>
                        <a:pt x="67918" y="135698"/>
                        <a:pt x="81141" y="118127"/>
                        <a:pt x="78459" y="99134"/>
                      </a:cubicBezTo>
                      <a:cubicBezTo>
                        <a:pt x="76044" y="82028"/>
                        <a:pt x="61424" y="69297"/>
                        <a:pt x="44148" y="69258"/>
                      </a:cubicBezTo>
                      <a:close/>
                    </a:path>
                  </a:pathLst>
                </a:custGeom>
                <a:solidFill>
                  <a:srgbClr val="FFFFFF"/>
                </a:solidFill>
                <a:ln w="2522" cap="flat">
                  <a:solidFill>
                    <a:srgbClr val="038C8C"/>
                  </a:solidFill>
                  <a:prstDash val="solid"/>
                  <a:miter/>
                </a:ln>
              </p:spPr>
              <p:txBody>
                <a:bodyPr rtlCol="0" anchor="ctr"/>
                <a:lstStyle/>
                <a:p>
                  <a:endParaRPr lang="en-SG" sz="1059"/>
                </a:p>
              </p:txBody>
            </p:sp>
          </p:grpSp>
          <p:sp>
            <p:nvSpPr>
              <p:cNvPr id="29" name="TextBox 28">
                <a:extLst>
                  <a:ext uri="{FF2B5EF4-FFF2-40B4-BE49-F238E27FC236}">
                    <a16:creationId xmlns:a16="http://schemas.microsoft.com/office/drawing/2014/main" xmlns="" id="{9A17B7E6-CDF8-47EB-8757-F3E214269102}"/>
                  </a:ext>
                </a:extLst>
              </p:cNvPr>
              <p:cNvSpPr txBox="1"/>
              <p:nvPr/>
            </p:nvSpPr>
            <p:spPr>
              <a:xfrm>
                <a:off x="4921984" y="3256458"/>
                <a:ext cx="915415" cy="422343"/>
              </a:xfrm>
              <a:prstGeom prst="rect">
                <a:avLst/>
              </a:prstGeom>
              <a:noFill/>
            </p:spPr>
            <p:txBody>
              <a:bodyPr wrap="square" rtlCol="0">
                <a:spAutoFit/>
              </a:bodyPr>
              <a:lstStyle/>
              <a:p>
                <a:pPr algn="ctr"/>
                <a:r>
                  <a:rPr lang="en-US" sz="900" b="1" dirty="0">
                    <a:solidFill>
                      <a:srgbClr val="038C8C"/>
                    </a:solidFill>
                    <a:latin typeface="Arsenal" panose="00000500000000000000" pitchFamily="2" charset="0"/>
                  </a:rPr>
                  <a:t>Financial Stewardship</a:t>
                </a:r>
                <a:endParaRPr lang="en-SG" sz="900" b="1" dirty="0">
                  <a:solidFill>
                    <a:srgbClr val="038C8C"/>
                  </a:solidFill>
                  <a:latin typeface="Arsenal" panose="00000500000000000000" pitchFamily="2" charset="0"/>
                </a:endParaRPr>
              </a:p>
            </p:txBody>
          </p:sp>
          <p:sp>
            <p:nvSpPr>
              <p:cNvPr id="30" name="Freeform: Shape 29">
                <a:extLst>
                  <a:ext uri="{FF2B5EF4-FFF2-40B4-BE49-F238E27FC236}">
                    <a16:creationId xmlns:a16="http://schemas.microsoft.com/office/drawing/2014/main" xmlns="" id="{8E233C18-8588-4CEA-B9EF-02D134FFB437}"/>
                  </a:ext>
                </a:extLst>
              </p:cNvPr>
              <p:cNvSpPr/>
              <p:nvPr/>
            </p:nvSpPr>
            <p:spPr>
              <a:xfrm>
                <a:off x="6000747" y="3709612"/>
                <a:ext cx="978619" cy="3348651"/>
              </a:xfrm>
              <a:custGeom>
                <a:avLst/>
                <a:gdLst>
                  <a:gd name="connsiteX0" fmla="*/ 96484 w 978619"/>
                  <a:gd name="connsiteY0" fmla="*/ 273 h 2899011"/>
                  <a:gd name="connsiteX1" fmla="*/ 0 w 978619"/>
                  <a:gd name="connsiteY1" fmla="*/ 84543 h 2899011"/>
                  <a:gd name="connsiteX2" fmla="*/ 0 w 978619"/>
                  <a:gd name="connsiteY2" fmla="*/ 2814810 h 2899011"/>
                  <a:gd name="connsiteX3" fmla="*/ 96484 w 978619"/>
                  <a:gd name="connsiteY3" fmla="*/ 2899012 h 2899011"/>
                  <a:gd name="connsiteX4" fmla="*/ 882136 w 978619"/>
                  <a:gd name="connsiteY4" fmla="*/ 2899012 h 2899011"/>
                  <a:gd name="connsiteX5" fmla="*/ 978619 w 978619"/>
                  <a:gd name="connsiteY5" fmla="*/ 2814810 h 2899011"/>
                  <a:gd name="connsiteX6" fmla="*/ 978619 w 978619"/>
                  <a:gd name="connsiteY6" fmla="*/ 84270 h 2899011"/>
                  <a:gd name="connsiteX7" fmla="*/ 882136 w 978619"/>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619" h="2899011">
                    <a:moveTo>
                      <a:pt x="96484" y="273"/>
                    </a:moveTo>
                    <a:cubicBezTo>
                      <a:pt x="43193" y="273"/>
                      <a:pt x="0" y="38007"/>
                      <a:pt x="0" y="84543"/>
                    </a:cubicBezTo>
                    <a:lnTo>
                      <a:pt x="0" y="2814810"/>
                    </a:lnTo>
                    <a:cubicBezTo>
                      <a:pt x="0" y="2861346"/>
                      <a:pt x="43193" y="2899012"/>
                      <a:pt x="96484" y="2899012"/>
                    </a:cubicBezTo>
                    <a:lnTo>
                      <a:pt x="882136" y="2899012"/>
                    </a:lnTo>
                    <a:cubicBezTo>
                      <a:pt x="935427" y="2899012"/>
                      <a:pt x="978619" y="2861346"/>
                      <a:pt x="978619" y="2814810"/>
                    </a:cubicBezTo>
                    <a:lnTo>
                      <a:pt x="978619" y="84270"/>
                    </a:lnTo>
                    <a:cubicBezTo>
                      <a:pt x="978619" y="37734"/>
                      <a:pt x="935427" y="0"/>
                      <a:pt x="882136" y="0"/>
                    </a:cubicBezTo>
                    <a:close/>
                  </a:path>
                </a:pathLst>
              </a:custGeom>
              <a:solidFill>
                <a:srgbClr val="731A32">
                  <a:alpha val="10000"/>
                </a:srgbClr>
              </a:solidFill>
              <a:ln w="6816" cap="flat">
                <a:noFill/>
                <a:prstDash val="solid"/>
                <a:miter/>
              </a:ln>
            </p:spPr>
            <p:txBody>
              <a:bodyPr rtlCol="0" anchor="ctr"/>
              <a:lstStyle/>
              <a:p>
                <a:endParaRPr lang="en-SG" sz="1059"/>
              </a:p>
            </p:txBody>
          </p:sp>
          <p:sp>
            <p:nvSpPr>
              <p:cNvPr id="31" name="object 19">
                <a:extLst>
                  <a:ext uri="{FF2B5EF4-FFF2-40B4-BE49-F238E27FC236}">
                    <a16:creationId xmlns:a16="http://schemas.microsoft.com/office/drawing/2014/main" xmlns="" id="{6F1E4534-3C60-4568-8E1B-1E309DD9149C}"/>
                  </a:ext>
                </a:extLst>
              </p:cNvPr>
              <p:cNvSpPr txBox="1"/>
              <p:nvPr/>
            </p:nvSpPr>
            <p:spPr>
              <a:xfrm>
                <a:off x="6084692" y="6650926"/>
                <a:ext cx="810725" cy="151590"/>
              </a:xfrm>
              <a:prstGeom prst="rect">
                <a:avLst/>
              </a:prstGeom>
            </p:spPr>
            <p:txBody>
              <a:bodyPr vert="horz" wrap="square" lIns="0" tIns="9361" rIns="0" bIns="0" rtlCol="0">
                <a:spAutoFit/>
              </a:bodyPr>
              <a:lstStyle/>
              <a:p>
                <a:pPr marL="9361">
                  <a:spcBef>
                    <a:spcPts val="74"/>
                  </a:spcBef>
                </a:pPr>
                <a:r>
                  <a:rPr sz="800" spc="-11" dirty="0">
                    <a:solidFill>
                      <a:srgbClr val="035379"/>
                    </a:solidFill>
                    <a:latin typeface="Arsenal"/>
                    <a:cs typeface="Arsenal"/>
                  </a:rPr>
                  <a:t>Tax</a:t>
                </a:r>
                <a:r>
                  <a:rPr sz="800" spc="-22" dirty="0">
                    <a:solidFill>
                      <a:srgbClr val="035379"/>
                    </a:solidFill>
                    <a:latin typeface="Arsenal"/>
                    <a:cs typeface="Arsenal"/>
                  </a:rPr>
                  <a:t> </a:t>
                </a:r>
                <a:r>
                  <a:rPr sz="800" spc="-4" dirty="0">
                    <a:solidFill>
                      <a:srgbClr val="035379"/>
                    </a:solidFill>
                    <a:latin typeface="Arsenal"/>
                    <a:cs typeface="Arsenal"/>
                  </a:rPr>
                  <a:t>Efficiency</a:t>
                </a:r>
                <a:r>
                  <a:rPr sz="800" spc="-22" dirty="0">
                    <a:solidFill>
                      <a:srgbClr val="035379"/>
                    </a:solidFill>
                    <a:latin typeface="Arsenal"/>
                    <a:cs typeface="Arsenal"/>
                  </a:rPr>
                  <a:t> </a:t>
                </a:r>
                <a:r>
                  <a:rPr sz="800" dirty="0">
                    <a:solidFill>
                      <a:srgbClr val="035379"/>
                    </a:solidFill>
                    <a:latin typeface="Arsenal"/>
                    <a:cs typeface="Arsenal"/>
                  </a:rPr>
                  <a:t>*</a:t>
                </a:r>
                <a:endParaRPr sz="800" dirty="0">
                  <a:latin typeface="Arsenal"/>
                  <a:cs typeface="Arsenal"/>
                </a:endParaRPr>
              </a:p>
            </p:txBody>
          </p:sp>
          <p:sp>
            <p:nvSpPr>
              <p:cNvPr id="32" name="object 24">
                <a:extLst>
                  <a:ext uri="{FF2B5EF4-FFF2-40B4-BE49-F238E27FC236}">
                    <a16:creationId xmlns:a16="http://schemas.microsoft.com/office/drawing/2014/main" xmlns="" id="{AB2714A5-14CC-4C2B-B9A5-1717EECD2450}"/>
                  </a:ext>
                </a:extLst>
              </p:cNvPr>
              <p:cNvSpPr txBox="1"/>
              <p:nvPr/>
            </p:nvSpPr>
            <p:spPr>
              <a:xfrm>
                <a:off x="6050253" y="3749165"/>
                <a:ext cx="880519" cy="1747110"/>
              </a:xfrm>
              <a:prstGeom prst="rect">
                <a:avLst/>
              </a:prstGeom>
            </p:spPr>
            <p:txBody>
              <a:bodyPr vert="horz" wrap="square" lIns="0" tIns="9361" rIns="0" bIns="0" rtlCol="0">
                <a:spAutoFit/>
              </a:bodyPr>
              <a:lstStyle/>
              <a:p>
                <a:pPr algn="ctr">
                  <a:spcBef>
                    <a:spcPts val="442"/>
                  </a:spcBef>
                  <a:spcAft>
                    <a:spcPts val="442"/>
                  </a:spcAft>
                </a:pPr>
                <a:r>
                  <a:rPr sz="800" dirty="0">
                    <a:solidFill>
                      <a:srgbClr val="231F20"/>
                    </a:solidFill>
                    <a:latin typeface="Arsenal"/>
                    <a:cs typeface="Arsenal"/>
                  </a:rPr>
                  <a:t>Property</a:t>
                </a:r>
                <a:r>
                  <a:rPr sz="800" spc="-22" dirty="0">
                    <a:solidFill>
                      <a:srgbClr val="231F20"/>
                    </a:solidFill>
                    <a:latin typeface="Arsenal"/>
                    <a:cs typeface="Arsenal"/>
                  </a:rPr>
                  <a:t> </a:t>
                </a:r>
                <a:r>
                  <a:rPr sz="800" dirty="0">
                    <a:solidFill>
                      <a:srgbClr val="231F20"/>
                    </a:solidFill>
                    <a:latin typeface="Arsenal"/>
                    <a:cs typeface="Arsenal"/>
                  </a:rPr>
                  <a:t>Rights</a:t>
                </a:r>
                <a:endParaRPr sz="800" dirty="0">
                  <a:latin typeface="Arsenal"/>
                  <a:cs typeface="Arsenal"/>
                </a:endParaRPr>
              </a:p>
              <a:p>
                <a:pPr marL="16850" marR="11233" algn="ctr">
                  <a:spcBef>
                    <a:spcPts val="442"/>
                  </a:spcBef>
                  <a:spcAft>
                    <a:spcPts val="442"/>
                  </a:spcAft>
                </a:pPr>
                <a:r>
                  <a:rPr sz="800" dirty="0">
                    <a:solidFill>
                      <a:srgbClr val="231F20"/>
                    </a:solidFill>
                    <a:latin typeface="Arsenal"/>
                    <a:cs typeface="Arsenal"/>
                  </a:rPr>
                  <a:t>Macroeconomic  Environment</a:t>
                </a:r>
                <a:endParaRPr sz="800" dirty="0">
                  <a:latin typeface="Arsenal"/>
                  <a:cs typeface="Arsenal"/>
                </a:endParaRPr>
              </a:p>
              <a:p>
                <a:pPr marL="73485" marR="67868" algn="ctr">
                  <a:spcBef>
                    <a:spcPts val="442"/>
                  </a:spcBef>
                  <a:spcAft>
                    <a:spcPts val="442"/>
                  </a:spcAft>
                </a:pPr>
                <a:r>
                  <a:rPr sz="800" spc="-4" dirty="0">
                    <a:solidFill>
                      <a:srgbClr val="231F20"/>
                    </a:solidFill>
                    <a:latin typeface="Arsenal"/>
                    <a:cs typeface="Arsenal"/>
                  </a:rPr>
                  <a:t>Attracting </a:t>
                </a:r>
                <a:r>
                  <a:rPr sz="800" dirty="0">
                    <a:solidFill>
                      <a:srgbClr val="231F20"/>
                    </a:solidFill>
                    <a:latin typeface="Arsenal"/>
                    <a:cs typeface="Arsenal"/>
                  </a:rPr>
                  <a:t> In</a:t>
                </a:r>
                <a:r>
                  <a:rPr sz="800" spc="-7" dirty="0">
                    <a:solidFill>
                      <a:srgbClr val="231F20"/>
                    </a:solidFill>
                    <a:latin typeface="Arsenal"/>
                    <a:cs typeface="Arsenal"/>
                  </a:rPr>
                  <a:t>v</a:t>
                </a:r>
                <a:r>
                  <a:rPr sz="800" dirty="0">
                    <a:solidFill>
                      <a:srgbClr val="231F20"/>
                    </a:solidFill>
                    <a:latin typeface="Arsenal"/>
                    <a:cs typeface="Arsenal"/>
                  </a:rPr>
                  <a:t>estments</a:t>
                </a:r>
                <a:endParaRPr sz="800" dirty="0">
                  <a:latin typeface="Arsenal"/>
                  <a:cs typeface="Arsenal"/>
                </a:endParaRPr>
              </a:p>
              <a:p>
                <a:pPr algn="ctr">
                  <a:spcBef>
                    <a:spcPts val="442"/>
                  </a:spcBef>
                  <a:spcAft>
                    <a:spcPts val="442"/>
                  </a:spcAft>
                </a:pPr>
                <a:r>
                  <a:rPr lang="en-SG" sz="800" dirty="0">
                    <a:solidFill>
                      <a:srgbClr val="231F20"/>
                    </a:solidFill>
                    <a:latin typeface="Arsenal"/>
                    <a:cs typeface="Arsenal"/>
                  </a:rPr>
                  <a:t>Logistics Competence</a:t>
                </a:r>
              </a:p>
              <a:p>
                <a:pPr algn="ctr">
                  <a:spcBef>
                    <a:spcPts val="442"/>
                  </a:spcBef>
                  <a:spcAft>
                    <a:spcPts val="442"/>
                  </a:spcAft>
                </a:pPr>
                <a:r>
                  <a:rPr sz="800" dirty="0">
                    <a:solidFill>
                      <a:srgbClr val="231F20"/>
                    </a:solidFill>
                    <a:latin typeface="Arsenal"/>
                    <a:cs typeface="Arsenal"/>
                  </a:rPr>
                  <a:t>Stable Business  Regulations</a:t>
                </a:r>
                <a:endParaRPr sz="800" dirty="0">
                  <a:latin typeface="Arsenal"/>
                  <a:cs typeface="Arsenal"/>
                </a:endParaRPr>
              </a:p>
            </p:txBody>
          </p:sp>
          <p:grpSp>
            <p:nvGrpSpPr>
              <p:cNvPr id="33" name="Group 32">
                <a:extLst>
                  <a:ext uri="{FF2B5EF4-FFF2-40B4-BE49-F238E27FC236}">
                    <a16:creationId xmlns:a16="http://schemas.microsoft.com/office/drawing/2014/main" xmlns="" id="{5A4B5E36-2454-4A7D-A3CA-A2A7C1D299D3}"/>
                  </a:ext>
                </a:extLst>
              </p:cNvPr>
              <p:cNvGrpSpPr/>
              <p:nvPr/>
            </p:nvGrpSpPr>
            <p:grpSpPr>
              <a:xfrm>
                <a:off x="6213685" y="2662652"/>
                <a:ext cx="553654" cy="553654"/>
                <a:chOff x="6227389" y="2732858"/>
                <a:chExt cx="553654" cy="553654"/>
              </a:xfrm>
            </p:grpSpPr>
            <p:sp>
              <p:nvSpPr>
                <p:cNvPr id="48" name="Freeform: Shape 47">
                  <a:extLst>
                    <a:ext uri="{FF2B5EF4-FFF2-40B4-BE49-F238E27FC236}">
                      <a16:creationId xmlns:a16="http://schemas.microsoft.com/office/drawing/2014/main" xmlns="" id="{CB60E9FC-1B00-4357-8312-7FD192DC86B1}"/>
                    </a:ext>
                  </a:extLst>
                </p:cNvPr>
                <p:cNvSpPr/>
                <p:nvPr/>
              </p:nvSpPr>
              <p:spPr>
                <a:xfrm>
                  <a:off x="6227389" y="2732858"/>
                  <a:ext cx="553654" cy="553654"/>
                </a:xfrm>
                <a:custGeom>
                  <a:avLst/>
                  <a:gdLst>
                    <a:gd name="connsiteX0" fmla="*/ 553655 w 553654"/>
                    <a:gd name="connsiteY0" fmla="*/ 276827 h 553654"/>
                    <a:gd name="connsiteX1" fmla="*/ 276828 w 553654"/>
                    <a:gd name="connsiteY1" fmla="*/ 553655 h 553654"/>
                    <a:gd name="connsiteX2" fmla="*/ 0 w 553654"/>
                    <a:gd name="connsiteY2" fmla="*/ 276827 h 553654"/>
                    <a:gd name="connsiteX3" fmla="*/ 276828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8" y="553655"/>
                      </a:cubicBezTo>
                      <a:cubicBezTo>
                        <a:pt x="123940" y="553655"/>
                        <a:pt x="0" y="429715"/>
                        <a:pt x="0" y="276827"/>
                      </a:cubicBezTo>
                      <a:cubicBezTo>
                        <a:pt x="0" y="123940"/>
                        <a:pt x="123940" y="0"/>
                        <a:pt x="276828" y="0"/>
                      </a:cubicBezTo>
                      <a:cubicBezTo>
                        <a:pt x="429715" y="0"/>
                        <a:pt x="553655" y="123940"/>
                        <a:pt x="553655" y="276827"/>
                      </a:cubicBezTo>
                      <a:close/>
                    </a:path>
                  </a:pathLst>
                </a:custGeom>
                <a:solidFill>
                  <a:srgbClr val="731A32"/>
                </a:solidFill>
                <a:ln w="6816" cap="flat">
                  <a:noFill/>
                  <a:prstDash val="solid"/>
                  <a:miter/>
                </a:ln>
              </p:spPr>
              <p:txBody>
                <a:bodyPr rtlCol="0" anchor="ctr"/>
                <a:lstStyle/>
                <a:p>
                  <a:endParaRPr lang="en-SG" sz="1059"/>
                </a:p>
              </p:txBody>
            </p:sp>
            <p:sp>
              <p:nvSpPr>
                <p:cNvPr id="49" name="Freeform: Shape 48">
                  <a:extLst>
                    <a:ext uri="{FF2B5EF4-FFF2-40B4-BE49-F238E27FC236}">
                      <a16:creationId xmlns:a16="http://schemas.microsoft.com/office/drawing/2014/main" xmlns="" id="{275441B5-9EDC-45FF-BCDC-414602A64E75}"/>
                    </a:ext>
                  </a:extLst>
                </p:cNvPr>
                <p:cNvSpPr/>
                <p:nvPr/>
              </p:nvSpPr>
              <p:spPr>
                <a:xfrm>
                  <a:off x="6514384" y="3045031"/>
                  <a:ext cx="106036" cy="65641"/>
                </a:xfrm>
                <a:custGeom>
                  <a:avLst/>
                  <a:gdLst>
                    <a:gd name="connsiteX0" fmla="*/ 100919 w 106036"/>
                    <a:gd name="connsiteY0" fmla="*/ 55543 h 65641"/>
                    <a:gd name="connsiteX1" fmla="*/ 95869 w 106036"/>
                    <a:gd name="connsiteY1" fmla="*/ 55543 h 65641"/>
                    <a:gd name="connsiteX2" fmla="*/ 95869 w 106036"/>
                    <a:gd name="connsiteY2" fmla="*/ 5049 h 65641"/>
                    <a:gd name="connsiteX3" fmla="*/ 90820 w 106036"/>
                    <a:gd name="connsiteY3" fmla="*/ 0 h 65641"/>
                    <a:gd name="connsiteX4" fmla="*/ 15080 w 106036"/>
                    <a:gd name="connsiteY4" fmla="*/ 0 h 65641"/>
                    <a:gd name="connsiteX5" fmla="*/ 10030 w 106036"/>
                    <a:gd name="connsiteY5" fmla="*/ 5049 h 65641"/>
                    <a:gd name="connsiteX6" fmla="*/ 10030 w 106036"/>
                    <a:gd name="connsiteY6" fmla="*/ 55543 h 65641"/>
                    <a:gd name="connsiteX7" fmla="*/ 5049 w 106036"/>
                    <a:gd name="connsiteY7" fmla="*/ 55543 h 65641"/>
                    <a:gd name="connsiteX8" fmla="*/ 0 w 106036"/>
                    <a:gd name="connsiteY8" fmla="*/ 60592 h 65641"/>
                    <a:gd name="connsiteX9" fmla="*/ 0 w 106036"/>
                    <a:gd name="connsiteY9" fmla="*/ 60592 h 65641"/>
                    <a:gd name="connsiteX10" fmla="*/ 5049 w 106036"/>
                    <a:gd name="connsiteY10" fmla="*/ 65642 h 65641"/>
                    <a:gd name="connsiteX11" fmla="*/ 100987 w 106036"/>
                    <a:gd name="connsiteY11" fmla="*/ 65642 h 65641"/>
                    <a:gd name="connsiteX12" fmla="*/ 106036 w 106036"/>
                    <a:gd name="connsiteY12" fmla="*/ 60592 h 65641"/>
                    <a:gd name="connsiteX13" fmla="*/ 106036 w 106036"/>
                    <a:gd name="connsiteY13" fmla="*/ 60592 h 65641"/>
                    <a:gd name="connsiteX14" fmla="*/ 100987 w 106036"/>
                    <a:gd name="connsiteY14" fmla="*/ 55542 h 65641"/>
                    <a:gd name="connsiteX15" fmla="*/ 100919 w 106036"/>
                    <a:gd name="connsiteY15" fmla="*/ 55543 h 65641"/>
                    <a:gd name="connsiteX16" fmla="*/ 20129 w 106036"/>
                    <a:gd name="connsiteY16" fmla="*/ 10099 h 65641"/>
                    <a:gd name="connsiteX17" fmla="*/ 85771 w 106036"/>
                    <a:gd name="connsiteY17" fmla="*/ 10099 h 65641"/>
                    <a:gd name="connsiteX18" fmla="*/ 85771 w 106036"/>
                    <a:gd name="connsiteY18" fmla="*/ 55543 h 65641"/>
                    <a:gd name="connsiteX19" fmla="*/ 20129 w 106036"/>
                    <a:gd name="connsiteY19" fmla="*/ 55543 h 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6036" h="65641">
                      <a:moveTo>
                        <a:pt x="100919" y="55543"/>
                      </a:moveTo>
                      <a:lnTo>
                        <a:pt x="95869" y="55543"/>
                      </a:lnTo>
                      <a:lnTo>
                        <a:pt x="95869" y="5049"/>
                      </a:lnTo>
                      <a:cubicBezTo>
                        <a:pt x="95869" y="2261"/>
                        <a:pt x="93609" y="0"/>
                        <a:pt x="90820" y="0"/>
                      </a:cubicBezTo>
                      <a:lnTo>
                        <a:pt x="15080" y="0"/>
                      </a:lnTo>
                      <a:cubicBezTo>
                        <a:pt x="12291" y="0"/>
                        <a:pt x="10030" y="2261"/>
                        <a:pt x="10030" y="5049"/>
                      </a:cubicBezTo>
                      <a:lnTo>
                        <a:pt x="10030" y="55543"/>
                      </a:lnTo>
                      <a:lnTo>
                        <a:pt x="5049" y="55543"/>
                      </a:lnTo>
                      <a:cubicBezTo>
                        <a:pt x="2261" y="55543"/>
                        <a:pt x="0" y="57804"/>
                        <a:pt x="0" y="60592"/>
                      </a:cubicBezTo>
                      <a:lnTo>
                        <a:pt x="0" y="60592"/>
                      </a:lnTo>
                      <a:cubicBezTo>
                        <a:pt x="0" y="63381"/>
                        <a:pt x="2261" y="65642"/>
                        <a:pt x="5049" y="65642"/>
                      </a:cubicBezTo>
                      <a:lnTo>
                        <a:pt x="100987" y="65642"/>
                      </a:lnTo>
                      <a:cubicBezTo>
                        <a:pt x="103776" y="65642"/>
                        <a:pt x="106036" y="63381"/>
                        <a:pt x="106036" y="60592"/>
                      </a:cubicBezTo>
                      <a:lnTo>
                        <a:pt x="106036" y="60592"/>
                      </a:lnTo>
                      <a:cubicBezTo>
                        <a:pt x="106037" y="57804"/>
                        <a:pt x="103776" y="55543"/>
                        <a:pt x="100987" y="55542"/>
                      </a:cubicBezTo>
                      <a:cubicBezTo>
                        <a:pt x="100965" y="55542"/>
                        <a:pt x="100942" y="55543"/>
                        <a:pt x="100919" y="55543"/>
                      </a:cubicBezTo>
                      <a:close/>
                      <a:moveTo>
                        <a:pt x="20129" y="10099"/>
                      </a:moveTo>
                      <a:lnTo>
                        <a:pt x="85771" y="10099"/>
                      </a:lnTo>
                      <a:lnTo>
                        <a:pt x="85771" y="55543"/>
                      </a:lnTo>
                      <a:lnTo>
                        <a:pt x="20129" y="55543"/>
                      </a:lnTo>
                      <a:close/>
                    </a:path>
                  </a:pathLst>
                </a:custGeom>
                <a:solidFill>
                  <a:srgbClr val="FFFFFF"/>
                </a:solidFill>
                <a:ln w="6816" cap="flat">
                  <a:noFill/>
                  <a:prstDash val="solid"/>
                  <a:miter/>
                </a:ln>
              </p:spPr>
              <p:txBody>
                <a:bodyPr rtlCol="0" anchor="ctr"/>
                <a:lstStyle/>
                <a:p>
                  <a:endParaRPr lang="en-SG" sz="1059"/>
                </a:p>
              </p:txBody>
            </p:sp>
            <p:sp>
              <p:nvSpPr>
                <p:cNvPr id="50" name="Freeform: Shape 49">
                  <a:extLst>
                    <a:ext uri="{FF2B5EF4-FFF2-40B4-BE49-F238E27FC236}">
                      <a16:creationId xmlns:a16="http://schemas.microsoft.com/office/drawing/2014/main" xmlns="" id="{ECF2DFDA-7667-431F-80C0-8A2EA01F4164}"/>
                    </a:ext>
                  </a:extLst>
                </p:cNvPr>
                <p:cNvSpPr/>
                <p:nvPr/>
              </p:nvSpPr>
              <p:spPr>
                <a:xfrm>
                  <a:off x="6347414" y="2853155"/>
                  <a:ext cx="313537" cy="313332"/>
                </a:xfrm>
                <a:custGeom>
                  <a:avLst/>
                  <a:gdLst>
                    <a:gd name="connsiteX0" fmla="*/ 242642 w 313537"/>
                    <a:gd name="connsiteY0" fmla="*/ 85839 h 313332"/>
                    <a:gd name="connsiteX1" fmla="*/ 242642 w 313537"/>
                    <a:gd name="connsiteY1" fmla="*/ 75740 h 313332"/>
                    <a:gd name="connsiteX2" fmla="*/ 257790 w 313537"/>
                    <a:gd name="connsiteY2" fmla="*/ 75740 h 313332"/>
                    <a:gd name="connsiteX3" fmla="*/ 262839 w 313537"/>
                    <a:gd name="connsiteY3" fmla="*/ 70691 h 313332"/>
                    <a:gd name="connsiteX4" fmla="*/ 262839 w 313537"/>
                    <a:gd name="connsiteY4" fmla="*/ 5049 h 313332"/>
                    <a:gd name="connsiteX5" fmla="*/ 257790 w 313537"/>
                    <a:gd name="connsiteY5" fmla="*/ 0 h 313332"/>
                    <a:gd name="connsiteX6" fmla="*/ 56020 w 313537"/>
                    <a:gd name="connsiteY6" fmla="*/ 0 h 313332"/>
                    <a:gd name="connsiteX7" fmla="*/ 50971 w 313537"/>
                    <a:gd name="connsiteY7" fmla="*/ 5049 h 313332"/>
                    <a:gd name="connsiteX8" fmla="*/ 50971 w 313537"/>
                    <a:gd name="connsiteY8" fmla="*/ 70691 h 313332"/>
                    <a:gd name="connsiteX9" fmla="*/ 56020 w 313537"/>
                    <a:gd name="connsiteY9" fmla="*/ 75740 h 313332"/>
                    <a:gd name="connsiteX10" fmla="*/ 71168 w 313537"/>
                    <a:gd name="connsiteY10" fmla="*/ 75740 h 313332"/>
                    <a:gd name="connsiteX11" fmla="*/ 71168 w 313537"/>
                    <a:gd name="connsiteY11" fmla="*/ 85839 h 313332"/>
                    <a:gd name="connsiteX12" fmla="*/ 273 w 313537"/>
                    <a:gd name="connsiteY12" fmla="*/ 85839 h 313332"/>
                    <a:gd name="connsiteX13" fmla="*/ 273 w 313537"/>
                    <a:gd name="connsiteY13" fmla="*/ 123709 h 313332"/>
                    <a:gd name="connsiteX14" fmla="*/ 17945 w 313537"/>
                    <a:gd name="connsiteY14" fmla="*/ 156530 h 313332"/>
                    <a:gd name="connsiteX15" fmla="*/ 22995 w 313537"/>
                    <a:gd name="connsiteY15" fmla="*/ 156530 h 313332"/>
                    <a:gd name="connsiteX16" fmla="*/ 25520 w 313537"/>
                    <a:gd name="connsiteY16" fmla="*/ 156530 h 313332"/>
                    <a:gd name="connsiteX17" fmla="*/ 25520 w 313537"/>
                    <a:gd name="connsiteY17" fmla="*/ 303234 h 313332"/>
                    <a:gd name="connsiteX18" fmla="*/ 5049 w 313537"/>
                    <a:gd name="connsiteY18" fmla="*/ 303234 h 313332"/>
                    <a:gd name="connsiteX19" fmla="*/ 0 w 313537"/>
                    <a:gd name="connsiteY19" fmla="*/ 308283 h 313332"/>
                    <a:gd name="connsiteX20" fmla="*/ 5049 w 313537"/>
                    <a:gd name="connsiteY20" fmla="*/ 313333 h 313332"/>
                    <a:gd name="connsiteX21" fmla="*/ 308488 w 313537"/>
                    <a:gd name="connsiteY21" fmla="*/ 313333 h 313332"/>
                    <a:gd name="connsiteX22" fmla="*/ 313537 w 313537"/>
                    <a:gd name="connsiteY22" fmla="*/ 308284 h 313332"/>
                    <a:gd name="connsiteX23" fmla="*/ 308488 w 313537"/>
                    <a:gd name="connsiteY23" fmla="*/ 303234 h 313332"/>
                    <a:gd name="connsiteX24" fmla="*/ 288018 w 313537"/>
                    <a:gd name="connsiteY24" fmla="*/ 303234 h 313332"/>
                    <a:gd name="connsiteX25" fmla="*/ 288018 w 313537"/>
                    <a:gd name="connsiteY25" fmla="*/ 156530 h 313332"/>
                    <a:gd name="connsiteX26" fmla="*/ 290542 w 313537"/>
                    <a:gd name="connsiteY26" fmla="*/ 156530 h 313332"/>
                    <a:gd name="connsiteX27" fmla="*/ 295592 w 313537"/>
                    <a:gd name="connsiteY27" fmla="*/ 156530 h 313332"/>
                    <a:gd name="connsiteX28" fmla="*/ 313264 w 313537"/>
                    <a:gd name="connsiteY28" fmla="*/ 123709 h 313332"/>
                    <a:gd name="connsiteX29" fmla="*/ 313264 w 313537"/>
                    <a:gd name="connsiteY29" fmla="*/ 85839 h 313332"/>
                    <a:gd name="connsiteX30" fmla="*/ 60865 w 313537"/>
                    <a:gd name="connsiteY30" fmla="*/ 65369 h 313332"/>
                    <a:gd name="connsiteX31" fmla="*/ 60865 w 313537"/>
                    <a:gd name="connsiteY31" fmla="*/ 9826 h 313332"/>
                    <a:gd name="connsiteX32" fmla="*/ 252741 w 313537"/>
                    <a:gd name="connsiteY32" fmla="*/ 9826 h 313332"/>
                    <a:gd name="connsiteX33" fmla="*/ 252741 w 313537"/>
                    <a:gd name="connsiteY33" fmla="*/ 65369 h 313332"/>
                    <a:gd name="connsiteX34" fmla="*/ 232543 w 313537"/>
                    <a:gd name="connsiteY34" fmla="*/ 75467 h 313332"/>
                    <a:gd name="connsiteX35" fmla="*/ 232543 w 313537"/>
                    <a:gd name="connsiteY35" fmla="*/ 85566 h 313332"/>
                    <a:gd name="connsiteX36" fmla="*/ 81062 w 313537"/>
                    <a:gd name="connsiteY36" fmla="*/ 85566 h 313332"/>
                    <a:gd name="connsiteX37" fmla="*/ 81062 w 313537"/>
                    <a:gd name="connsiteY37" fmla="*/ 75467 h 313332"/>
                    <a:gd name="connsiteX38" fmla="*/ 30569 w 313537"/>
                    <a:gd name="connsiteY38" fmla="*/ 138584 h 313332"/>
                    <a:gd name="connsiteX39" fmla="*/ 22995 w 313537"/>
                    <a:gd name="connsiteY39" fmla="*/ 146158 h 313332"/>
                    <a:gd name="connsiteX40" fmla="*/ 17945 w 313537"/>
                    <a:gd name="connsiteY40" fmla="*/ 146158 h 313332"/>
                    <a:gd name="connsiteX41" fmla="*/ 10371 w 313537"/>
                    <a:gd name="connsiteY41" fmla="*/ 138584 h 313332"/>
                    <a:gd name="connsiteX42" fmla="*/ 10371 w 313537"/>
                    <a:gd name="connsiteY42" fmla="*/ 95801 h 313332"/>
                    <a:gd name="connsiteX43" fmla="*/ 30842 w 313537"/>
                    <a:gd name="connsiteY43" fmla="*/ 95801 h 313332"/>
                    <a:gd name="connsiteX44" fmla="*/ 101260 w 313537"/>
                    <a:gd name="connsiteY44" fmla="*/ 302757 h 313332"/>
                    <a:gd name="connsiteX45" fmla="*/ 65914 w 313537"/>
                    <a:gd name="connsiteY45" fmla="*/ 302757 h 313332"/>
                    <a:gd name="connsiteX46" fmla="*/ 65914 w 313537"/>
                    <a:gd name="connsiteY46" fmla="*/ 201974 h 313332"/>
                    <a:gd name="connsiteX47" fmla="*/ 101260 w 313537"/>
                    <a:gd name="connsiteY47" fmla="*/ 201974 h 313332"/>
                    <a:gd name="connsiteX48" fmla="*/ 146704 w 313537"/>
                    <a:gd name="connsiteY48" fmla="*/ 302757 h 313332"/>
                    <a:gd name="connsiteX49" fmla="*/ 111358 w 313537"/>
                    <a:gd name="connsiteY49" fmla="*/ 302757 h 313332"/>
                    <a:gd name="connsiteX50" fmla="*/ 111358 w 313537"/>
                    <a:gd name="connsiteY50" fmla="*/ 201974 h 313332"/>
                    <a:gd name="connsiteX51" fmla="*/ 146704 w 313537"/>
                    <a:gd name="connsiteY51" fmla="*/ 201974 h 313332"/>
                    <a:gd name="connsiteX52" fmla="*/ 277987 w 313537"/>
                    <a:gd name="connsiteY52" fmla="*/ 302757 h 313332"/>
                    <a:gd name="connsiteX53" fmla="*/ 156803 w 313537"/>
                    <a:gd name="connsiteY53" fmla="*/ 302757 h 313332"/>
                    <a:gd name="connsiteX54" fmla="*/ 156803 w 313537"/>
                    <a:gd name="connsiteY54" fmla="*/ 193104 h 313332"/>
                    <a:gd name="connsiteX55" fmla="*/ 55815 w 313537"/>
                    <a:gd name="connsiteY55" fmla="*/ 193104 h 313332"/>
                    <a:gd name="connsiteX56" fmla="*/ 55815 w 313537"/>
                    <a:gd name="connsiteY56" fmla="*/ 303303 h 313332"/>
                    <a:gd name="connsiteX57" fmla="*/ 35345 w 313537"/>
                    <a:gd name="connsiteY57" fmla="*/ 303303 h 313332"/>
                    <a:gd name="connsiteX58" fmla="*/ 35345 w 313537"/>
                    <a:gd name="connsiteY58" fmla="*/ 151208 h 313332"/>
                    <a:gd name="connsiteX59" fmla="*/ 47968 w 313537"/>
                    <a:gd name="connsiteY59" fmla="*/ 156530 h 313332"/>
                    <a:gd name="connsiteX60" fmla="*/ 53018 w 313537"/>
                    <a:gd name="connsiteY60" fmla="*/ 156530 h 313332"/>
                    <a:gd name="connsiteX61" fmla="*/ 65641 w 313537"/>
                    <a:gd name="connsiteY61" fmla="*/ 151208 h 313332"/>
                    <a:gd name="connsiteX62" fmla="*/ 78264 w 313537"/>
                    <a:gd name="connsiteY62" fmla="*/ 156530 h 313332"/>
                    <a:gd name="connsiteX63" fmla="*/ 83314 w 313537"/>
                    <a:gd name="connsiteY63" fmla="*/ 156530 h 313332"/>
                    <a:gd name="connsiteX64" fmla="*/ 108208 w 313537"/>
                    <a:gd name="connsiteY64" fmla="*/ 156177 h 313332"/>
                    <a:gd name="connsiteX65" fmla="*/ 108561 w 313537"/>
                    <a:gd name="connsiteY65" fmla="*/ 156530 h 313332"/>
                    <a:gd name="connsiteX66" fmla="*/ 113610 w 313537"/>
                    <a:gd name="connsiteY66" fmla="*/ 156530 h 313332"/>
                    <a:gd name="connsiteX67" fmla="*/ 138504 w 313537"/>
                    <a:gd name="connsiteY67" fmla="*/ 156177 h 313332"/>
                    <a:gd name="connsiteX68" fmla="*/ 138857 w 313537"/>
                    <a:gd name="connsiteY68" fmla="*/ 156530 h 313332"/>
                    <a:gd name="connsiteX69" fmla="*/ 143906 w 313537"/>
                    <a:gd name="connsiteY69" fmla="*/ 156530 h 313332"/>
                    <a:gd name="connsiteX70" fmla="*/ 168800 w 313537"/>
                    <a:gd name="connsiteY70" fmla="*/ 156177 h 313332"/>
                    <a:gd name="connsiteX71" fmla="*/ 169153 w 313537"/>
                    <a:gd name="connsiteY71" fmla="*/ 156530 h 313332"/>
                    <a:gd name="connsiteX72" fmla="*/ 174203 w 313537"/>
                    <a:gd name="connsiteY72" fmla="*/ 156530 h 313332"/>
                    <a:gd name="connsiteX73" fmla="*/ 199097 w 313537"/>
                    <a:gd name="connsiteY73" fmla="*/ 156177 h 313332"/>
                    <a:gd name="connsiteX74" fmla="*/ 199449 w 313537"/>
                    <a:gd name="connsiteY74" fmla="*/ 156530 h 313332"/>
                    <a:gd name="connsiteX75" fmla="*/ 204499 w 313537"/>
                    <a:gd name="connsiteY75" fmla="*/ 156530 h 313332"/>
                    <a:gd name="connsiteX76" fmla="*/ 217122 w 313537"/>
                    <a:gd name="connsiteY76" fmla="*/ 151208 h 313332"/>
                    <a:gd name="connsiteX77" fmla="*/ 229745 w 313537"/>
                    <a:gd name="connsiteY77" fmla="*/ 156530 h 313332"/>
                    <a:gd name="connsiteX78" fmla="*/ 234795 w 313537"/>
                    <a:gd name="connsiteY78" fmla="*/ 156530 h 313332"/>
                    <a:gd name="connsiteX79" fmla="*/ 247418 w 313537"/>
                    <a:gd name="connsiteY79" fmla="*/ 151208 h 313332"/>
                    <a:gd name="connsiteX80" fmla="*/ 260041 w 313537"/>
                    <a:gd name="connsiteY80" fmla="*/ 156530 h 313332"/>
                    <a:gd name="connsiteX81" fmla="*/ 265091 w 313537"/>
                    <a:gd name="connsiteY81" fmla="*/ 156530 h 313332"/>
                    <a:gd name="connsiteX82" fmla="*/ 277714 w 313537"/>
                    <a:gd name="connsiteY82" fmla="*/ 151208 h 313332"/>
                    <a:gd name="connsiteX83" fmla="*/ 40668 w 313537"/>
                    <a:gd name="connsiteY83" fmla="*/ 138584 h 313332"/>
                    <a:gd name="connsiteX84" fmla="*/ 40668 w 313537"/>
                    <a:gd name="connsiteY84" fmla="*/ 95801 h 313332"/>
                    <a:gd name="connsiteX85" fmla="*/ 61138 w 313537"/>
                    <a:gd name="connsiteY85" fmla="*/ 95801 h 313332"/>
                    <a:gd name="connsiteX86" fmla="*/ 61138 w 313537"/>
                    <a:gd name="connsiteY86" fmla="*/ 138721 h 313332"/>
                    <a:gd name="connsiteX87" fmla="*/ 53564 w 313537"/>
                    <a:gd name="connsiteY87" fmla="*/ 146295 h 313332"/>
                    <a:gd name="connsiteX88" fmla="*/ 48515 w 313537"/>
                    <a:gd name="connsiteY88" fmla="*/ 146295 h 313332"/>
                    <a:gd name="connsiteX89" fmla="*/ 40672 w 313537"/>
                    <a:gd name="connsiteY89" fmla="*/ 139000 h 313332"/>
                    <a:gd name="connsiteX90" fmla="*/ 40668 w 313537"/>
                    <a:gd name="connsiteY90" fmla="*/ 138857 h 313332"/>
                    <a:gd name="connsiteX91" fmla="*/ 70964 w 313537"/>
                    <a:gd name="connsiteY91" fmla="*/ 138584 h 313332"/>
                    <a:gd name="connsiteX92" fmla="*/ 70964 w 313537"/>
                    <a:gd name="connsiteY92" fmla="*/ 95801 h 313332"/>
                    <a:gd name="connsiteX93" fmla="*/ 91434 w 313537"/>
                    <a:gd name="connsiteY93" fmla="*/ 95801 h 313332"/>
                    <a:gd name="connsiteX94" fmla="*/ 91434 w 313537"/>
                    <a:gd name="connsiteY94" fmla="*/ 138721 h 313332"/>
                    <a:gd name="connsiteX95" fmla="*/ 83860 w 313537"/>
                    <a:gd name="connsiteY95" fmla="*/ 146295 h 313332"/>
                    <a:gd name="connsiteX96" fmla="*/ 78811 w 313537"/>
                    <a:gd name="connsiteY96" fmla="*/ 146295 h 313332"/>
                    <a:gd name="connsiteX97" fmla="*/ 70968 w 313537"/>
                    <a:gd name="connsiteY97" fmla="*/ 139000 h 313332"/>
                    <a:gd name="connsiteX98" fmla="*/ 70964 w 313537"/>
                    <a:gd name="connsiteY98" fmla="*/ 138857 h 313332"/>
                    <a:gd name="connsiteX99" fmla="*/ 101260 w 313537"/>
                    <a:gd name="connsiteY99" fmla="*/ 138584 h 313332"/>
                    <a:gd name="connsiteX100" fmla="*/ 101260 w 313537"/>
                    <a:gd name="connsiteY100" fmla="*/ 95801 h 313332"/>
                    <a:gd name="connsiteX101" fmla="*/ 121730 w 313537"/>
                    <a:gd name="connsiteY101" fmla="*/ 95801 h 313332"/>
                    <a:gd name="connsiteX102" fmla="*/ 121730 w 313537"/>
                    <a:gd name="connsiteY102" fmla="*/ 138721 h 313332"/>
                    <a:gd name="connsiteX103" fmla="*/ 114156 w 313537"/>
                    <a:gd name="connsiteY103" fmla="*/ 146295 h 313332"/>
                    <a:gd name="connsiteX104" fmla="*/ 109107 w 313537"/>
                    <a:gd name="connsiteY104" fmla="*/ 146295 h 313332"/>
                    <a:gd name="connsiteX105" fmla="*/ 101264 w 313537"/>
                    <a:gd name="connsiteY105" fmla="*/ 139000 h 313332"/>
                    <a:gd name="connsiteX106" fmla="*/ 101260 w 313537"/>
                    <a:gd name="connsiteY106" fmla="*/ 138857 h 313332"/>
                    <a:gd name="connsiteX107" fmla="*/ 131556 w 313537"/>
                    <a:gd name="connsiteY107" fmla="*/ 138584 h 313332"/>
                    <a:gd name="connsiteX108" fmla="*/ 131556 w 313537"/>
                    <a:gd name="connsiteY108" fmla="*/ 95801 h 313332"/>
                    <a:gd name="connsiteX109" fmla="*/ 152026 w 313537"/>
                    <a:gd name="connsiteY109" fmla="*/ 95801 h 313332"/>
                    <a:gd name="connsiteX110" fmla="*/ 152026 w 313537"/>
                    <a:gd name="connsiteY110" fmla="*/ 138721 h 313332"/>
                    <a:gd name="connsiteX111" fmla="*/ 144452 w 313537"/>
                    <a:gd name="connsiteY111" fmla="*/ 146295 h 313332"/>
                    <a:gd name="connsiteX112" fmla="*/ 139403 w 313537"/>
                    <a:gd name="connsiteY112" fmla="*/ 146295 h 313332"/>
                    <a:gd name="connsiteX113" fmla="*/ 131560 w 313537"/>
                    <a:gd name="connsiteY113" fmla="*/ 139000 h 313332"/>
                    <a:gd name="connsiteX114" fmla="*/ 131556 w 313537"/>
                    <a:gd name="connsiteY114" fmla="*/ 138857 h 313332"/>
                    <a:gd name="connsiteX115" fmla="*/ 161852 w 313537"/>
                    <a:gd name="connsiteY115" fmla="*/ 138584 h 313332"/>
                    <a:gd name="connsiteX116" fmla="*/ 161852 w 313537"/>
                    <a:gd name="connsiteY116" fmla="*/ 95801 h 313332"/>
                    <a:gd name="connsiteX117" fmla="*/ 182322 w 313537"/>
                    <a:gd name="connsiteY117" fmla="*/ 95801 h 313332"/>
                    <a:gd name="connsiteX118" fmla="*/ 182322 w 313537"/>
                    <a:gd name="connsiteY118" fmla="*/ 138721 h 313332"/>
                    <a:gd name="connsiteX119" fmla="*/ 174749 w 313537"/>
                    <a:gd name="connsiteY119" fmla="*/ 146295 h 313332"/>
                    <a:gd name="connsiteX120" fmla="*/ 169699 w 313537"/>
                    <a:gd name="connsiteY120" fmla="*/ 146295 h 313332"/>
                    <a:gd name="connsiteX121" fmla="*/ 161856 w 313537"/>
                    <a:gd name="connsiteY121" fmla="*/ 139000 h 313332"/>
                    <a:gd name="connsiteX122" fmla="*/ 161852 w 313537"/>
                    <a:gd name="connsiteY122" fmla="*/ 138857 h 313332"/>
                    <a:gd name="connsiteX123" fmla="*/ 192148 w 313537"/>
                    <a:gd name="connsiteY123" fmla="*/ 138584 h 313332"/>
                    <a:gd name="connsiteX124" fmla="*/ 192148 w 313537"/>
                    <a:gd name="connsiteY124" fmla="*/ 95801 h 313332"/>
                    <a:gd name="connsiteX125" fmla="*/ 212619 w 313537"/>
                    <a:gd name="connsiteY125" fmla="*/ 95801 h 313332"/>
                    <a:gd name="connsiteX126" fmla="*/ 212619 w 313537"/>
                    <a:gd name="connsiteY126" fmla="*/ 138721 h 313332"/>
                    <a:gd name="connsiteX127" fmla="*/ 205045 w 313537"/>
                    <a:gd name="connsiteY127" fmla="*/ 146295 h 313332"/>
                    <a:gd name="connsiteX128" fmla="*/ 199995 w 313537"/>
                    <a:gd name="connsiteY128" fmla="*/ 146295 h 313332"/>
                    <a:gd name="connsiteX129" fmla="*/ 192489 w 313537"/>
                    <a:gd name="connsiteY129" fmla="*/ 138857 h 313332"/>
                    <a:gd name="connsiteX130" fmla="*/ 222444 w 313537"/>
                    <a:gd name="connsiteY130" fmla="*/ 138584 h 313332"/>
                    <a:gd name="connsiteX131" fmla="*/ 222444 w 313537"/>
                    <a:gd name="connsiteY131" fmla="*/ 95801 h 313332"/>
                    <a:gd name="connsiteX132" fmla="*/ 242915 w 313537"/>
                    <a:gd name="connsiteY132" fmla="*/ 95801 h 313332"/>
                    <a:gd name="connsiteX133" fmla="*/ 242915 w 313537"/>
                    <a:gd name="connsiteY133" fmla="*/ 138721 h 313332"/>
                    <a:gd name="connsiteX134" fmla="*/ 235341 w 313537"/>
                    <a:gd name="connsiteY134" fmla="*/ 146295 h 313332"/>
                    <a:gd name="connsiteX135" fmla="*/ 230291 w 313537"/>
                    <a:gd name="connsiteY135" fmla="*/ 146295 h 313332"/>
                    <a:gd name="connsiteX136" fmla="*/ 222448 w 313537"/>
                    <a:gd name="connsiteY136" fmla="*/ 139000 h 313332"/>
                    <a:gd name="connsiteX137" fmla="*/ 222444 w 313537"/>
                    <a:gd name="connsiteY137" fmla="*/ 138857 h 313332"/>
                    <a:gd name="connsiteX138" fmla="*/ 252741 w 313537"/>
                    <a:gd name="connsiteY138" fmla="*/ 138584 h 313332"/>
                    <a:gd name="connsiteX139" fmla="*/ 252741 w 313537"/>
                    <a:gd name="connsiteY139" fmla="*/ 95801 h 313332"/>
                    <a:gd name="connsiteX140" fmla="*/ 273211 w 313537"/>
                    <a:gd name="connsiteY140" fmla="*/ 95801 h 313332"/>
                    <a:gd name="connsiteX141" fmla="*/ 273211 w 313537"/>
                    <a:gd name="connsiteY141" fmla="*/ 138721 h 313332"/>
                    <a:gd name="connsiteX142" fmla="*/ 265637 w 313537"/>
                    <a:gd name="connsiteY142" fmla="*/ 146295 h 313332"/>
                    <a:gd name="connsiteX143" fmla="*/ 260587 w 313537"/>
                    <a:gd name="connsiteY143" fmla="*/ 146295 h 313332"/>
                    <a:gd name="connsiteX144" fmla="*/ 252744 w 313537"/>
                    <a:gd name="connsiteY144" fmla="*/ 139000 h 313332"/>
                    <a:gd name="connsiteX145" fmla="*/ 252741 w 313537"/>
                    <a:gd name="connsiteY145" fmla="*/ 138857 h 313332"/>
                    <a:gd name="connsiteX146" fmla="*/ 303234 w 313537"/>
                    <a:gd name="connsiteY146" fmla="*/ 138584 h 313332"/>
                    <a:gd name="connsiteX147" fmla="*/ 295660 w 313537"/>
                    <a:gd name="connsiteY147" fmla="*/ 146158 h 313332"/>
                    <a:gd name="connsiteX148" fmla="*/ 290611 w 313537"/>
                    <a:gd name="connsiteY148" fmla="*/ 146158 h 313332"/>
                    <a:gd name="connsiteX149" fmla="*/ 283037 w 313537"/>
                    <a:gd name="connsiteY149" fmla="*/ 138584 h 313332"/>
                    <a:gd name="connsiteX150" fmla="*/ 283037 w 313537"/>
                    <a:gd name="connsiteY150" fmla="*/ 95801 h 313332"/>
                    <a:gd name="connsiteX151" fmla="*/ 303507 w 313537"/>
                    <a:gd name="connsiteY151" fmla="*/ 95801 h 313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313537" h="313332">
                      <a:moveTo>
                        <a:pt x="242642" y="85839"/>
                      </a:moveTo>
                      <a:lnTo>
                        <a:pt x="242642" y="75740"/>
                      </a:lnTo>
                      <a:lnTo>
                        <a:pt x="257790" y="75740"/>
                      </a:lnTo>
                      <a:cubicBezTo>
                        <a:pt x="260578" y="75740"/>
                        <a:pt x="262839" y="73480"/>
                        <a:pt x="262839" y="70691"/>
                      </a:cubicBezTo>
                      <a:lnTo>
                        <a:pt x="262839" y="5049"/>
                      </a:lnTo>
                      <a:cubicBezTo>
                        <a:pt x="262839" y="2261"/>
                        <a:pt x="260578" y="0"/>
                        <a:pt x="257790" y="0"/>
                      </a:cubicBezTo>
                      <a:lnTo>
                        <a:pt x="56020" y="0"/>
                      </a:lnTo>
                      <a:cubicBezTo>
                        <a:pt x="53232" y="0"/>
                        <a:pt x="50971" y="2261"/>
                        <a:pt x="50971" y="5049"/>
                      </a:cubicBezTo>
                      <a:lnTo>
                        <a:pt x="50971" y="70691"/>
                      </a:lnTo>
                      <a:cubicBezTo>
                        <a:pt x="50971" y="73480"/>
                        <a:pt x="53232" y="75740"/>
                        <a:pt x="56020" y="75740"/>
                      </a:cubicBezTo>
                      <a:lnTo>
                        <a:pt x="71168" y="75740"/>
                      </a:lnTo>
                      <a:lnTo>
                        <a:pt x="71168" y="85839"/>
                      </a:lnTo>
                      <a:lnTo>
                        <a:pt x="273" y="85839"/>
                      </a:lnTo>
                      <a:lnTo>
                        <a:pt x="273" y="123709"/>
                      </a:lnTo>
                      <a:cubicBezTo>
                        <a:pt x="273" y="148615"/>
                        <a:pt x="8188" y="156530"/>
                        <a:pt x="17945" y="156530"/>
                      </a:cubicBezTo>
                      <a:lnTo>
                        <a:pt x="22995" y="156530"/>
                      </a:lnTo>
                      <a:lnTo>
                        <a:pt x="25520" y="156530"/>
                      </a:lnTo>
                      <a:lnTo>
                        <a:pt x="25520" y="303234"/>
                      </a:lnTo>
                      <a:lnTo>
                        <a:pt x="5049" y="303234"/>
                      </a:lnTo>
                      <a:cubicBezTo>
                        <a:pt x="2261" y="303234"/>
                        <a:pt x="0" y="305495"/>
                        <a:pt x="0" y="308283"/>
                      </a:cubicBezTo>
                      <a:cubicBezTo>
                        <a:pt x="0" y="311072"/>
                        <a:pt x="2261" y="313333"/>
                        <a:pt x="5049" y="313333"/>
                      </a:cubicBezTo>
                      <a:lnTo>
                        <a:pt x="308488" y="313333"/>
                      </a:lnTo>
                      <a:cubicBezTo>
                        <a:pt x="311277" y="313333"/>
                        <a:pt x="313537" y="311072"/>
                        <a:pt x="313537" y="308284"/>
                      </a:cubicBezTo>
                      <a:cubicBezTo>
                        <a:pt x="313537" y="305495"/>
                        <a:pt x="311277" y="303234"/>
                        <a:pt x="308488" y="303234"/>
                      </a:cubicBezTo>
                      <a:lnTo>
                        <a:pt x="288018" y="303234"/>
                      </a:lnTo>
                      <a:lnTo>
                        <a:pt x="288018" y="156530"/>
                      </a:lnTo>
                      <a:lnTo>
                        <a:pt x="290542" y="156530"/>
                      </a:lnTo>
                      <a:lnTo>
                        <a:pt x="295592" y="156530"/>
                      </a:lnTo>
                      <a:cubicBezTo>
                        <a:pt x="305349" y="156530"/>
                        <a:pt x="313264" y="148615"/>
                        <a:pt x="313264" y="123709"/>
                      </a:cubicBezTo>
                      <a:lnTo>
                        <a:pt x="313264" y="85839"/>
                      </a:lnTo>
                      <a:close/>
                      <a:moveTo>
                        <a:pt x="60865" y="65369"/>
                      </a:moveTo>
                      <a:lnTo>
                        <a:pt x="60865" y="9826"/>
                      </a:lnTo>
                      <a:lnTo>
                        <a:pt x="252741" y="9826"/>
                      </a:lnTo>
                      <a:lnTo>
                        <a:pt x="252741" y="65369"/>
                      </a:lnTo>
                      <a:close/>
                      <a:moveTo>
                        <a:pt x="232543" y="75467"/>
                      </a:moveTo>
                      <a:lnTo>
                        <a:pt x="232543" y="85566"/>
                      </a:lnTo>
                      <a:lnTo>
                        <a:pt x="81062" y="85566"/>
                      </a:lnTo>
                      <a:lnTo>
                        <a:pt x="81062" y="75467"/>
                      </a:lnTo>
                      <a:close/>
                      <a:moveTo>
                        <a:pt x="30569" y="138584"/>
                      </a:moveTo>
                      <a:cubicBezTo>
                        <a:pt x="30569" y="142767"/>
                        <a:pt x="27178" y="146158"/>
                        <a:pt x="22995" y="146158"/>
                      </a:cubicBezTo>
                      <a:lnTo>
                        <a:pt x="17945" y="146158"/>
                      </a:lnTo>
                      <a:cubicBezTo>
                        <a:pt x="13762" y="146158"/>
                        <a:pt x="10371" y="142767"/>
                        <a:pt x="10371" y="138584"/>
                      </a:cubicBezTo>
                      <a:lnTo>
                        <a:pt x="10371" y="95801"/>
                      </a:lnTo>
                      <a:lnTo>
                        <a:pt x="30842" y="95801"/>
                      </a:lnTo>
                      <a:close/>
                      <a:moveTo>
                        <a:pt x="101260" y="302757"/>
                      </a:moveTo>
                      <a:lnTo>
                        <a:pt x="65914" y="302757"/>
                      </a:lnTo>
                      <a:lnTo>
                        <a:pt x="65914" y="201974"/>
                      </a:lnTo>
                      <a:lnTo>
                        <a:pt x="101260" y="201974"/>
                      </a:lnTo>
                      <a:close/>
                      <a:moveTo>
                        <a:pt x="146704" y="302757"/>
                      </a:moveTo>
                      <a:lnTo>
                        <a:pt x="111358" y="302757"/>
                      </a:lnTo>
                      <a:lnTo>
                        <a:pt x="111358" y="201974"/>
                      </a:lnTo>
                      <a:lnTo>
                        <a:pt x="146704" y="201974"/>
                      </a:lnTo>
                      <a:close/>
                      <a:moveTo>
                        <a:pt x="277987" y="302757"/>
                      </a:moveTo>
                      <a:lnTo>
                        <a:pt x="156803" y="302757"/>
                      </a:lnTo>
                      <a:lnTo>
                        <a:pt x="156803" y="193104"/>
                      </a:lnTo>
                      <a:lnTo>
                        <a:pt x="55815" y="193104"/>
                      </a:lnTo>
                      <a:lnTo>
                        <a:pt x="55815" y="303303"/>
                      </a:lnTo>
                      <a:lnTo>
                        <a:pt x="35345" y="303303"/>
                      </a:lnTo>
                      <a:lnTo>
                        <a:pt x="35345" y="151208"/>
                      </a:lnTo>
                      <a:cubicBezTo>
                        <a:pt x="38653" y="154627"/>
                        <a:pt x="43211" y="156549"/>
                        <a:pt x="47968" y="156530"/>
                      </a:cubicBezTo>
                      <a:lnTo>
                        <a:pt x="53018" y="156530"/>
                      </a:lnTo>
                      <a:cubicBezTo>
                        <a:pt x="57769" y="156518"/>
                        <a:pt x="62316" y="154600"/>
                        <a:pt x="65641" y="151208"/>
                      </a:cubicBezTo>
                      <a:cubicBezTo>
                        <a:pt x="68949" y="154627"/>
                        <a:pt x="73507" y="156549"/>
                        <a:pt x="78264" y="156530"/>
                      </a:cubicBezTo>
                      <a:lnTo>
                        <a:pt x="83314" y="156530"/>
                      </a:lnTo>
                      <a:cubicBezTo>
                        <a:pt x="90091" y="149558"/>
                        <a:pt x="101236" y="149400"/>
                        <a:pt x="108208" y="156177"/>
                      </a:cubicBezTo>
                      <a:cubicBezTo>
                        <a:pt x="108327" y="156293"/>
                        <a:pt x="108445" y="156411"/>
                        <a:pt x="108561" y="156530"/>
                      </a:cubicBezTo>
                      <a:lnTo>
                        <a:pt x="113610" y="156530"/>
                      </a:lnTo>
                      <a:cubicBezTo>
                        <a:pt x="120387" y="149558"/>
                        <a:pt x="131533" y="149400"/>
                        <a:pt x="138504" y="156177"/>
                      </a:cubicBezTo>
                      <a:cubicBezTo>
                        <a:pt x="138623" y="156293"/>
                        <a:pt x="138741" y="156411"/>
                        <a:pt x="138857" y="156530"/>
                      </a:cubicBezTo>
                      <a:lnTo>
                        <a:pt x="143906" y="156530"/>
                      </a:lnTo>
                      <a:cubicBezTo>
                        <a:pt x="150683" y="149558"/>
                        <a:pt x="161829" y="149400"/>
                        <a:pt x="168800" y="156177"/>
                      </a:cubicBezTo>
                      <a:cubicBezTo>
                        <a:pt x="168920" y="156293"/>
                        <a:pt x="169037" y="156411"/>
                        <a:pt x="169153" y="156530"/>
                      </a:cubicBezTo>
                      <a:lnTo>
                        <a:pt x="174203" y="156530"/>
                      </a:lnTo>
                      <a:cubicBezTo>
                        <a:pt x="180979" y="149558"/>
                        <a:pt x="192125" y="149400"/>
                        <a:pt x="199097" y="156177"/>
                      </a:cubicBezTo>
                      <a:cubicBezTo>
                        <a:pt x="199216" y="156293"/>
                        <a:pt x="199334" y="156411"/>
                        <a:pt x="199449" y="156530"/>
                      </a:cubicBezTo>
                      <a:lnTo>
                        <a:pt x="204499" y="156530"/>
                      </a:lnTo>
                      <a:cubicBezTo>
                        <a:pt x="209256" y="156549"/>
                        <a:pt x="213815" y="154627"/>
                        <a:pt x="217122" y="151208"/>
                      </a:cubicBezTo>
                      <a:cubicBezTo>
                        <a:pt x="220447" y="154600"/>
                        <a:pt x="224994" y="156518"/>
                        <a:pt x="229745" y="156530"/>
                      </a:cubicBezTo>
                      <a:lnTo>
                        <a:pt x="234795" y="156530"/>
                      </a:lnTo>
                      <a:cubicBezTo>
                        <a:pt x="239552" y="156549"/>
                        <a:pt x="244111" y="154627"/>
                        <a:pt x="247418" y="151208"/>
                      </a:cubicBezTo>
                      <a:cubicBezTo>
                        <a:pt x="250744" y="154600"/>
                        <a:pt x="255291" y="156518"/>
                        <a:pt x="260041" y="156530"/>
                      </a:cubicBezTo>
                      <a:lnTo>
                        <a:pt x="265091" y="156530"/>
                      </a:lnTo>
                      <a:cubicBezTo>
                        <a:pt x="269848" y="156549"/>
                        <a:pt x="274407" y="154627"/>
                        <a:pt x="277714" y="151208"/>
                      </a:cubicBezTo>
                      <a:close/>
                      <a:moveTo>
                        <a:pt x="40668" y="138584"/>
                      </a:moveTo>
                      <a:lnTo>
                        <a:pt x="40668" y="95801"/>
                      </a:lnTo>
                      <a:lnTo>
                        <a:pt x="61138" y="95801"/>
                      </a:lnTo>
                      <a:lnTo>
                        <a:pt x="61138" y="138721"/>
                      </a:lnTo>
                      <a:cubicBezTo>
                        <a:pt x="61138" y="142904"/>
                        <a:pt x="57747" y="146295"/>
                        <a:pt x="53564" y="146295"/>
                      </a:cubicBezTo>
                      <a:lnTo>
                        <a:pt x="48515" y="146295"/>
                      </a:lnTo>
                      <a:cubicBezTo>
                        <a:pt x="44335" y="146446"/>
                        <a:pt x="40823" y="143180"/>
                        <a:pt x="40672" y="139000"/>
                      </a:cubicBezTo>
                      <a:cubicBezTo>
                        <a:pt x="40670" y="138952"/>
                        <a:pt x="40669" y="138905"/>
                        <a:pt x="40668" y="138857"/>
                      </a:cubicBezTo>
                      <a:close/>
                      <a:moveTo>
                        <a:pt x="70964" y="138584"/>
                      </a:moveTo>
                      <a:lnTo>
                        <a:pt x="70964" y="95801"/>
                      </a:lnTo>
                      <a:lnTo>
                        <a:pt x="91434" y="95801"/>
                      </a:lnTo>
                      <a:lnTo>
                        <a:pt x="91434" y="138721"/>
                      </a:lnTo>
                      <a:cubicBezTo>
                        <a:pt x="91434" y="142904"/>
                        <a:pt x="88043" y="146295"/>
                        <a:pt x="83860" y="146295"/>
                      </a:cubicBezTo>
                      <a:lnTo>
                        <a:pt x="78811" y="146295"/>
                      </a:lnTo>
                      <a:cubicBezTo>
                        <a:pt x="74631" y="146446"/>
                        <a:pt x="71119" y="143180"/>
                        <a:pt x="70968" y="139000"/>
                      </a:cubicBezTo>
                      <a:cubicBezTo>
                        <a:pt x="70966" y="138952"/>
                        <a:pt x="70965" y="138905"/>
                        <a:pt x="70964" y="138857"/>
                      </a:cubicBezTo>
                      <a:close/>
                      <a:moveTo>
                        <a:pt x="101260" y="138584"/>
                      </a:moveTo>
                      <a:lnTo>
                        <a:pt x="101260" y="95801"/>
                      </a:lnTo>
                      <a:lnTo>
                        <a:pt x="121730" y="95801"/>
                      </a:lnTo>
                      <a:lnTo>
                        <a:pt x="121730" y="138721"/>
                      </a:lnTo>
                      <a:cubicBezTo>
                        <a:pt x="121730" y="142904"/>
                        <a:pt x="118339" y="146295"/>
                        <a:pt x="114156" y="146295"/>
                      </a:cubicBezTo>
                      <a:lnTo>
                        <a:pt x="109107" y="146295"/>
                      </a:lnTo>
                      <a:cubicBezTo>
                        <a:pt x="104927" y="146446"/>
                        <a:pt x="101415" y="143180"/>
                        <a:pt x="101264" y="139000"/>
                      </a:cubicBezTo>
                      <a:cubicBezTo>
                        <a:pt x="101262" y="138952"/>
                        <a:pt x="101261" y="138905"/>
                        <a:pt x="101260" y="138857"/>
                      </a:cubicBezTo>
                      <a:close/>
                      <a:moveTo>
                        <a:pt x="131556" y="138584"/>
                      </a:moveTo>
                      <a:lnTo>
                        <a:pt x="131556" y="95801"/>
                      </a:lnTo>
                      <a:lnTo>
                        <a:pt x="152026" y="95801"/>
                      </a:lnTo>
                      <a:lnTo>
                        <a:pt x="152026" y="138721"/>
                      </a:lnTo>
                      <a:cubicBezTo>
                        <a:pt x="152026" y="142904"/>
                        <a:pt x="148635" y="146295"/>
                        <a:pt x="144452" y="146295"/>
                      </a:cubicBezTo>
                      <a:lnTo>
                        <a:pt x="139403" y="146295"/>
                      </a:lnTo>
                      <a:cubicBezTo>
                        <a:pt x="135223" y="146446"/>
                        <a:pt x="131711" y="143180"/>
                        <a:pt x="131560" y="139000"/>
                      </a:cubicBezTo>
                      <a:cubicBezTo>
                        <a:pt x="131558" y="138952"/>
                        <a:pt x="131557" y="138905"/>
                        <a:pt x="131556" y="138857"/>
                      </a:cubicBezTo>
                      <a:close/>
                      <a:moveTo>
                        <a:pt x="161852" y="138584"/>
                      </a:moveTo>
                      <a:lnTo>
                        <a:pt x="161852" y="95801"/>
                      </a:lnTo>
                      <a:lnTo>
                        <a:pt x="182322" y="95801"/>
                      </a:lnTo>
                      <a:lnTo>
                        <a:pt x="182322" y="138721"/>
                      </a:lnTo>
                      <a:cubicBezTo>
                        <a:pt x="182322" y="142904"/>
                        <a:pt x="178932" y="146295"/>
                        <a:pt x="174749" y="146295"/>
                      </a:cubicBezTo>
                      <a:lnTo>
                        <a:pt x="169699" y="146295"/>
                      </a:lnTo>
                      <a:cubicBezTo>
                        <a:pt x="165519" y="146446"/>
                        <a:pt x="162007" y="143180"/>
                        <a:pt x="161856" y="139000"/>
                      </a:cubicBezTo>
                      <a:cubicBezTo>
                        <a:pt x="161854" y="138952"/>
                        <a:pt x="161853" y="138905"/>
                        <a:pt x="161852" y="138857"/>
                      </a:cubicBezTo>
                      <a:close/>
                      <a:moveTo>
                        <a:pt x="192148" y="138584"/>
                      </a:moveTo>
                      <a:lnTo>
                        <a:pt x="192148" y="95801"/>
                      </a:lnTo>
                      <a:lnTo>
                        <a:pt x="212619" y="95801"/>
                      </a:lnTo>
                      <a:lnTo>
                        <a:pt x="212619" y="138721"/>
                      </a:lnTo>
                      <a:cubicBezTo>
                        <a:pt x="212619" y="142904"/>
                        <a:pt x="209228" y="146295"/>
                        <a:pt x="205045" y="146295"/>
                      </a:cubicBezTo>
                      <a:lnTo>
                        <a:pt x="199995" y="146295"/>
                      </a:lnTo>
                      <a:cubicBezTo>
                        <a:pt x="195891" y="146259"/>
                        <a:pt x="192563" y="142961"/>
                        <a:pt x="192489" y="138857"/>
                      </a:cubicBezTo>
                      <a:close/>
                      <a:moveTo>
                        <a:pt x="222444" y="138584"/>
                      </a:moveTo>
                      <a:lnTo>
                        <a:pt x="222444" y="95801"/>
                      </a:lnTo>
                      <a:lnTo>
                        <a:pt x="242915" y="95801"/>
                      </a:lnTo>
                      <a:lnTo>
                        <a:pt x="242915" y="138721"/>
                      </a:lnTo>
                      <a:cubicBezTo>
                        <a:pt x="242915" y="142904"/>
                        <a:pt x="239524" y="146295"/>
                        <a:pt x="235341" y="146295"/>
                      </a:cubicBezTo>
                      <a:lnTo>
                        <a:pt x="230291" y="146295"/>
                      </a:lnTo>
                      <a:cubicBezTo>
                        <a:pt x="226111" y="146446"/>
                        <a:pt x="222599" y="143180"/>
                        <a:pt x="222448" y="139000"/>
                      </a:cubicBezTo>
                      <a:cubicBezTo>
                        <a:pt x="222446" y="138952"/>
                        <a:pt x="222445" y="138905"/>
                        <a:pt x="222444" y="138857"/>
                      </a:cubicBezTo>
                      <a:close/>
                      <a:moveTo>
                        <a:pt x="252741" y="138584"/>
                      </a:moveTo>
                      <a:lnTo>
                        <a:pt x="252741" y="95801"/>
                      </a:lnTo>
                      <a:lnTo>
                        <a:pt x="273211" y="95801"/>
                      </a:lnTo>
                      <a:lnTo>
                        <a:pt x="273211" y="138721"/>
                      </a:lnTo>
                      <a:cubicBezTo>
                        <a:pt x="273211" y="142904"/>
                        <a:pt x="269820" y="146295"/>
                        <a:pt x="265637" y="146295"/>
                      </a:cubicBezTo>
                      <a:lnTo>
                        <a:pt x="260587" y="146295"/>
                      </a:lnTo>
                      <a:cubicBezTo>
                        <a:pt x="256407" y="146446"/>
                        <a:pt x="252895" y="143180"/>
                        <a:pt x="252744" y="139000"/>
                      </a:cubicBezTo>
                      <a:cubicBezTo>
                        <a:pt x="252743" y="138952"/>
                        <a:pt x="252741" y="138905"/>
                        <a:pt x="252741" y="138857"/>
                      </a:cubicBezTo>
                      <a:close/>
                      <a:moveTo>
                        <a:pt x="303234" y="138584"/>
                      </a:moveTo>
                      <a:cubicBezTo>
                        <a:pt x="303234" y="142767"/>
                        <a:pt x="299843" y="146158"/>
                        <a:pt x="295660" y="146158"/>
                      </a:cubicBezTo>
                      <a:lnTo>
                        <a:pt x="290611" y="146158"/>
                      </a:lnTo>
                      <a:cubicBezTo>
                        <a:pt x="286428" y="146158"/>
                        <a:pt x="283037" y="142767"/>
                        <a:pt x="283037" y="138584"/>
                      </a:cubicBezTo>
                      <a:lnTo>
                        <a:pt x="283037" y="95801"/>
                      </a:lnTo>
                      <a:lnTo>
                        <a:pt x="303507" y="95801"/>
                      </a:lnTo>
                      <a:close/>
                    </a:path>
                  </a:pathLst>
                </a:custGeom>
                <a:solidFill>
                  <a:srgbClr val="FFFFFF"/>
                </a:solidFill>
                <a:ln w="6816" cap="flat">
                  <a:noFill/>
                  <a:prstDash val="solid"/>
                  <a:miter/>
                </a:ln>
              </p:spPr>
              <p:txBody>
                <a:bodyPr rtlCol="0" anchor="ctr"/>
                <a:lstStyle/>
                <a:p>
                  <a:endParaRPr lang="en-SG" sz="1059"/>
                </a:p>
              </p:txBody>
            </p:sp>
          </p:grpSp>
          <p:sp>
            <p:nvSpPr>
              <p:cNvPr id="34" name="TextBox 33">
                <a:extLst>
                  <a:ext uri="{FF2B5EF4-FFF2-40B4-BE49-F238E27FC236}">
                    <a16:creationId xmlns:a16="http://schemas.microsoft.com/office/drawing/2014/main" xmlns="" id="{0EB05487-FA03-4C7C-B8C2-F0E103C09991}"/>
                  </a:ext>
                </a:extLst>
              </p:cNvPr>
              <p:cNvSpPr txBox="1"/>
              <p:nvPr/>
            </p:nvSpPr>
            <p:spPr>
              <a:xfrm>
                <a:off x="6000623" y="3256458"/>
                <a:ext cx="979778" cy="422343"/>
              </a:xfrm>
              <a:prstGeom prst="rect">
                <a:avLst/>
              </a:prstGeom>
              <a:noFill/>
            </p:spPr>
            <p:txBody>
              <a:bodyPr wrap="square" rtlCol="0">
                <a:spAutoFit/>
              </a:bodyPr>
              <a:lstStyle/>
              <a:p>
                <a:pPr algn="ctr"/>
                <a:r>
                  <a:rPr lang="en-US" sz="900" b="1" dirty="0">
                    <a:solidFill>
                      <a:srgbClr val="731A32"/>
                    </a:solidFill>
                    <a:latin typeface="Arsenal" panose="00000500000000000000" pitchFamily="2" charset="0"/>
                  </a:rPr>
                  <a:t>Attractive Marketplace</a:t>
                </a:r>
                <a:endParaRPr lang="en-SG" sz="900" b="1" dirty="0">
                  <a:solidFill>
                    <a:srgbClr val="731A32"/>
                  </a:solidFill>
                  <a:latin typeface="Arsenal" panose="00000500000000000000" pitchFamily="2" charset="0"/>
                </a:endParaRPr>
              </a:p>
            </p:txBody>
          </p:sp>
          <p:sp>
            <p:nvSpPr>
              <p:cNvPr id="35" name="Freeform: Shape 34">
                <a:extLst>
                  <a:ext uri="{FF2B5EF4-FFF2-40B4-BE49-F238E27FC236}">
                    <a16:creationId xmlns:a16="http://schemas.microsoft.com/office/drawing/2014/main" xmlns="" id="{AF22856E-2D97-47BB-9734-D122E1CB9C1E}"/>
                  </a:ext>
                </a:extLst>
              </p:cNvPr>
              <p:cNvSpPr/>
              <p:nvPr/>
            </p:nvSpPr>
            <p:spPr>
              <a:xfrm>
                <a:off x="7131657" y="3709612"/>
                <a:ext cx="978551" cy="3348651"/>
              </a:xfrm>
              <a:custGeom>
                <a:avLst/>
                <a:gdLst>
                  <a:gd name="connsiteX0" fmla="*/ 96415 w 978551"/>
                  <a:gd name="connsiteY0" fmla="*/ 273 h 2899011"/>
                  <a:gd name="connsiteX1" fmla="*/ 0 w 978551"/>
                  <a:gd name="connsiteY1" fmla="*/ 84543 h 2899011"/>
                  <a:gd name="connsiteX2" fmla="*/ 0 w 978551"/>
                  <a:gd name="connsiteY2" fmla="*/ 2814810 h 2899011"/>
                  <a:gd name="connsiteX3" fmla="*/ 96415 w 978551"/>
                  <a:gd name="connsiteY3" fmla="*/ 2899012 h 2899011"/>
                  <a:gd name="connsiteX4" fmla="*/ 882068 w 978551"/>
                  <a:gd name="connsiteY4" fmla="*/ 2899012 h 2899011"/>
                  <a:gd name="connsiteX5" fmla="*/ 978551 w 978551"/>
                  <a:gd name="connsiteY5" fmla="*/ 2814810 h 2899011"/>
                  <a:gd name="connsiteX6" fmla="*/ 978551 w 978551"/>
                  <a:gd name="connsiteY6" fmla="*/ 84270 h 2899011"/>
                  <a:gd name="connsiteX7" fmla="*/ 882068 w 978551"/>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551" h="2899011">
                    <a:moveTo>
                      <a:pt x="96415" y="273"/>
                    </a:moveTo>
                    <a:cubicBezTo>
                      <a:pt x="43193" y="273"/>
                      <a:pt x="0" y="38007"/>
                      <a:pt x="0" y="84543"/>
                    </a:cubicBezTo>
                    <a:lnTo>
                      <a:pt x="0" y="2814810"/>
                    </a:lnTo>
                    <a:cubicBezTo>
                      <a:pt x="0" y="2861346"/>
                      <a:pt x="43193" y="2899012"/>
                      <a:pt x="96415" y="2899012"/>
                    </a:cubicBezTo>
                    <a:lnTo>
                      <a:pt x="882068" y="2899012"/>
                    </a:lnTo>
                    <a:cubicBezTo>
                      <a:pt x="935359" y="2899012"/>
                      <a:pt x="978551" y="2861346"/>
                      <a:pt x="978551" y="2814810"/>
                    </a:cubicBezTo>
                    <a:lnTo>
                      <a:pt x="978551" y="84270"/>
                    </a:lnTo>
                    <a:cubicBezTo>
                      <a:pt x="978551" y="37734"/>
                      <a:pt x="935359" y="0"/>
                      <a:pt x="882068" y="0"/>
                    </a:cubicBezTo>
                    <a:close/>
                  </a:path>
                </a:pathLst>
              </a:custGeom>
              <a:solidFill>
                <a:srgbClr val="021859">
                  <a:alpha val="10000"/>
                </a:srgbClr>
              </a:solidFill>
              <a:ln w="6816" cap="flat">
                <a:noFill/>
                <a:prstDash val="solid"/>
                <a:miter/>
              </a:ln>
            </p:spPr>
            <p:txBody>
              <a:bodyPr rtlCol="0" anchor="ctr"/>
              <a:lstStyle/>
              <a:p>
                <a:endParaRPr lang="en-SG" sz="1059"/>
              </a:p>
            </p:txBody>
          </p:sp>
          <p:sp>
            <p:nvSpPr>
              <p:cNvPr id="37" name="object 25">
                <a:extLst>
                  <a:ext uri="{FF2B5EF4-FFF2-40B4-BE49-F238E27FC236}">
                    <a16:creationId xmlns:a16="http://schemas.microsoft.com/office/drawing/2014/main" xmlns="" id="{C320955C-87A4-4FA9-9D70-7B83BFA6EA40}"/>
                  </a:ext>
                </a:extLst>
              </p:cNvPr>
              <p:cNvSpPr txBox="1"/>
              <p:nvPr/>
            </p:nvSpPr>
            <p:spPr>
              <a:xfrm>
                <a:off x="7258685" y="3749165"/>
                <a:ext cx="718211" cy="1365524"/>
              </a:xfrm>
              <a:prstGeom prst="rect">
                <a:avLst/>
              </a:prstGeom>
            </p:spPr>
            <p:txBody>
              <a:bodyPr vert="horz" wrap="square" lIns="0" tIns="24338" rIns="0" bIns="0" rtlCol="0">
                <a:spAutoFit/>
              </a:bodyPr>
              <a:lstStyle/>
              <a:p>
                <a:pPr marL="14510" marR="8893" algn="ctr">
                  <a:spcBef>
                    <a:spcPts val="442"/>
                  </a:spcBef>
                  <a:spcAft>
                    <a:spcPts val="442"/>
                  </a:spcAft>
                </a:pPr>
                <a:r>
                  <a:rPr sz="800" dirty="0">
                    <a:solidFill>
                      <a:srgbClr val="231F20"/>
                    </a:solidFill>
                    <a:latin typeface="Arsenal"/>
                    <a:cs typeface="Arsenal"/>
                  </a:rPr>
                  <a:t>International  </a:t>
                </a:r>
                <a:r>
                  <a:rPr sz="800" spc="-11" dirty="0">
                    <a:solidFill>
                      <a:srgbClr val="231F20"/>
                    </a:solidFill>
                    <a:latin typeface="Arsenal"/>
                    <a:cs typeface="Arsenal"/>
                  </a:rPr>
                  <a:t>Trade</a:t>
                </a:r>
                <a:endParaRPr sz="800" dirty="0">
                  <a:latin typeface="Arsenal"/>
                  <a:cs typeface="Arsenal"/>
                </a:endParaRPr>
              </a:p>
              <a:p>
                <a:pPr marL="14510" marR="8893" algn="ctr">
                  <a:spcBef>
                    <a:spcPts val="442"/>
                  </a:spcBef>
                  <a:spcAft>
                    <a:spcPts val="442"/>
                  </a:spcAft>
                </a:pPr>
                <a:r>
                  <a:rPr sz="800" dirty="0">
                    <a:solidFill>
                      <a:srgbClr val="231F20"/>
                    </a:solidFill>
                    <a:latin typeface="Arsenal"/>
                    <a:cs typeface="Arsenal"/>
                  </a:rPr>
                  <a:t>International  Diplomacy</a:t>
                </a:r>
                <a:endParaRPr sz="800" dirty="0">
                  <a:latin typeface="Arsenal"/>
                  <a:cs typeface="Arsenal"/>
                </a:endParaRPr>
              </a:p>
              <a:p>
                <a:pPr algn="ctr">
                  <a:spcBef>
                    <a:spcPts val="442"/>
                  </a:spcBef>
                  <a:spcAft>
                    <a:spcPts val="442"/>
                  </a:spcAft>
                </a:pPr>
                <a:r>
                  <a:rPr sz="800" dirty="0">
                    <a:solidFill>
                      <a:srgbClr val="231F20"/>
                    </a:solidFill>
                    <a:latin typeface="Arsenal"/>
                    <a:cs typeface="Arsenal"/>
                  </a:rPr>
                  <a:t>Nation</a:t>
                </a:r>
                <a:r>
                  <a:rPr sz="800" spc="-37" dirty="0">
                    <a:solidFill>
                      <a:srgbClr val="231F20"/>
                    </a:solidFill>
                    <a:latin typeface="Arsenal"/>
                    <a:cs typeface="Arsenal"/>
                  </a:rPr>
                  <a:t> </a:t>
                </a:r>
                <a:r>
                  <a:rPr sz="800" spc="-4" dirty="0">
                    <a:solidFill>
                      <a:srgbClr val="231F20"/>
                    </a:solidFill>
                    <a:latin typeface="Arsenal"/>
                    <a:cs typeface="Arsenal"/>
                  </a:rPr>
                  <a:t>Brand</a:t>
                </a:r>
                <a:endParaRPr lang="en-US" sz="800" spc="-4" dirty="0">
                  <a:solidFill>
                    <a:srgbClr val="231F20"/>
                  </a:solidFill>
                  <a:latin typeface="Arsenal"/>
                  <a:cs typeface="Arsenal"/>
                </a:endParaRPr>
              </a:p>
              <a:p>
                <a:pPr algn="ctr">
                  <a:spcBef>
                    <a:spcPts val="442"/>
                  </a:spcBef>
                  <a:spcAft>
                    <a:spcPts val="442"/>
                  </a:spcAft>
                </a:pPr>
                <a:r>
                  <a:rPr lang="en-US" sz="800" spc="-4" dirty="0">
                    <a:solidFill>
                      <a:srgbClr val="231F20"/>
                    </a:solidFill>
                    <a:latin typeface="Arsenal"/>
                    <a:cs typeface="Arsenal"/>
                  </a:rPr>
                  <a:t>Passport Strength</a:t>
                </a:r>
                <a:endParaRPr sz="800" dirty="0">
                  <a:latin typeface="Arsenal"/>
                  <a:cs typeface="Arsenal"/>
                </a:endParaRPr>
              </a:p>
            </p:txBody>
          </p:sp>
          <p:grpSp>
            <p:nvGrpSpPr>
              <p:cNvPr id="38" name="Group 37">
                <a:extLst>
                  <a:ext uri="{FF2B5EF4-FFF2-40B4-BE49-F238E27FC236}">
                    <a16:creationId xmlns:a16="http://schemas.microsoft.com/office/drawing/2014/main" xmlns="" id="{727D516C-3574-45A3-AB87-99D7AAD52235}"/>
                  </a:ext>
                </a:extLst>
              </p:cNvPr>
              <p:cNvGrpSpPr/>
              <p:nvPr/>
            </p:nvGrpSpPr>
            <p:grpSpPr>
              <a:xfrm>
                <a:off x="7340963" y="2662652"/>
                <a:ext cx="553654" cy="553654"/>
                <a:chOff x="7361993" y="2732858"/>
                <a:chExt cx="553654" cy="553654"/>
              </a:xfrm>
            </p:grpSpPr>
            <p:sp>
              <p:nvSpPr>
                <p:cNvPr id="46" name="Freeform: Shape 45">
                  <a:extLst>
                    <a:ext uri="{FF2B5EF4-FFF2-40B4-BE49-F238E27FC236}">
                      <a16:creationId xmlns:a16="http://schemas.microsoft.com/office/drawing/2014/main" xmlns="" id="{2ADCD8C6-3FC7-47CF-9BF7-687603F307C0}"/>
                    </a:ext>
                  </a:extLst>
                </p:cNvPr>
                <p:cNvSpPr/>
                <p:nvPr/>
              </p:nvSpPr>
              <p:spPr>
                <a:xfrm>
                  <a:off x="7361993" y="2732858"/>
                  <a:ext cx="553654" cy="553654"/>
                </a:xfrm>
                <a:custGeom>
                  <a:avLst/>
                  <a:gdLst>
                    <a:gd name="connsiteX0" fmla="*/ 553655 w 553654"/>
                    <a:gd name="connsiteY0" fmla="*/ 276827 h 553654"/>
                    <a:gd name="connsiteX1" fmla="*/ 276827 w 553654"/>
                    <a:gd name="connsiteY1" fmla="*/ 553655 h 553654"/>
                    <a:gd name="connsiteX2" fmla="*/ 0 w 553654"/>
                    <a:gd name="connsiteY2" fmla="*/ 276827 h 553654"/>
                    <a:gd name="connsiteX3" fmla="*/ 276827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7" y="553655"/>
                      </a:cubicBezTo>
                      <a:cubicBezTo>
                        <a:pt x="123940" y="553655"/>
                        <a:pt x="0" y="429715"/>
                        <a:pt x="0" y="276827"/>
                      </a:cubicBezTo>
                      <a:cubicBezTo>
                        <a:pt x="0" y="123940"/>
                        <a:pt x="123940" y="0"/>
                        <a:pt x="276827" y="0"/>
                      </a:cubicBezTo>
                      <a:cubicBezTo>
                        <a:pt x="429715" y="0"/>
                        <a:pt x="553655" y="123940"/>
                        <a:pt x="553655" y="276827"/>
                      </a:cubicBezTo>
                      <a:close/>
                    </a:path>
                  </a:pathLst>
                </a:custGeom>
                <a:solidFill>
                  <a:srgbClr val="021859"/>
                </a:solidFill>
                <a:ln w="6816" cap="flat">
                  <a:noFill/>
                  <a:prstDash val="solid"/>
                  <a:miter/>
                </a:ln>
              </p:spPr>
              <p:txBody>
                <a:bodyPr rtlCol="0" anchor="ctr"/>
                <a:lstStyle/>
                <a:p>
                  <a:endParaRPr lang="en-SG" sz="1059"/>
                </a:p>
              </p:txBody>
            </p:sp>
            <p:sp>
              <p:nvSpPr>
                <p:cNvPr id="47" name="Freeform: Shape 46">
                  <a:extLst>
                    <a:ext uri="{FF2B5EF4-FFF2-40B4-BE49-F238E27FC236}">
                      <a16:creationId xmlns:a16="http://schemas.microsoft.com/office/drawing/2014/main" xmlns="" id="{06142E15-4D91-4D26-BFFF-D249718B21EF}"/>
                    </a:ext>
                  </a:extLst>
                </p:cNvPr>
                <p:cNvSpPr/>
                <p:nvPr/>
              </p:nvSpPr>
              <p:spPr>
                <a:xfrm>
                  <a:off x="7460250" y="2831115"/>
                  <a:ext cx="357139" cy="357139"/>
                </a:xfrm>
                <a:custGeom>
                  <a:avLst/>
                  <a:gdLst>
                    <a:gd name="connsiteX0" fmla="*/ 178570 w 357139"/>
                    <a:gd name="connsiteY0" fmla="*/ 0 h 357139"/>
                    <a:gd name="connsiteX1" fmla="*/ 0 w 357139"/>
                    <a:gd name="connsiteY1" fmla="*/ 178570 h 357139"/>
                    <a:gd name="connsiteX2" fmla="*/ 178570 w 357139"/>
                    <a:gd name="connsiteY2" fmla="*/ 357140 h 357139"/>
                    <a:gd name="connsiteX3" fmla="*/ 357139 w 357139"/>
                    <a:gd name="connsiteY3" fmla="*/ 178570 h 357139"/>
                    <a:gd name="connsiteX4" fmla="*/ 178570 w 357139"/>
                    <a:gd name="connsiteY4" fmla="*/ 0 h 357139"/>
                    <a:gd name="connsiteX5" fmla="*/ 12896 w 357139"/>
                    <a:gd name="connsiteY5" fmla="*/ 184847 h 357139"/>
                    <a:gd name="connsiteX6" fmla="*/ 73557 w 357139"/>
                    <a:gd name="connsiteY6" fmla="*/ 184847 h 357139"/>
                    <a:gd name="connsiteX7" fmla="*/ 88227 w 357139"/>
                    <a:gd name="connsiteY7" fmla="*/ 258472 h 357139"/>
                    <a:gd name="connsiteX8" fmla="*/ 33162 w 357139"/>
                    <a:gd name="connsiteY8" fmla="*/ 258472 h 357139"/>
                    <a:gd name="connsiteX9" fmla="*/ 12896 w 357139"/>
                    <a:gd name="connsiteY9" fmla="*/ 184847 h 357139"/>
                    <a:gd name="connsiteX10" fmla="*/ 185052 w 357139"/>
                    <a:gd name="connsiteY10" fmla="*/ 86180 h 357139"/>
                    <a:gd name="connsiteX11" fmla="*/ 185052 w 357139"/>
                    <a:gd name="connsiteY11" fmla="*/ 16922 h 357139"/>
                    <a:gd name="connsiteX12" fmla="*/ 249738 w 357139"/>
                    <a:gd name="connsiteY12" fmla="*/ 86180 h 357139"/>
                    <a:gd name="connsiteX13" fmla="*/ 255675 w 357139"/>
                    <a:gd name="connsiteY13" fmla="*/ 98667 h 357139"/>
                    <a:gd name="connsiteX14" fmla="*/ 271096 w 357139"/>
                    <a:gd name="connsiteY14" fmla="*/ 172429 h 357139"/>
                    <a:gd name="connsiteX15" fmla="*/ 185052 w 357139"/>
                    <a:gd name="connsiteY15" fmla="*/ 172429 h 357139"/>
                    <a:gd name="connsiteX16" fmla="*/ 185052 w 357139"/>
                    <a:gd name="connsiteY16" fmla="*/ 98667 h 357139"/>
                    <a:gd name="connsiteX17" fmla="*/ 172565 w 357139"/>
                    <a:gd name="connsiteY17" fmla="*/ 86180 h 357139"/>
                    <a:gd name="connsiteX18" fmla="*/ 107264 w 357139"/>
                    <a:gd name="connsiteY18" fmla="*/ 86180 h 357139"/>
                    <a:gd name="connsiteX19" fmla="*/ 172360 w 357139"/>
                    <a:gd name="connsiteY19" fmla="*/ 16785 h 357139"/>
                    <a:gd name="connsiteX20" fmla="*/ 172565 w 357139"/>
                    <a:gd name="connsiteY20" fmla="*/ 98667 h 357139"/>
                    <a:gd name="connsiteX21" fmla="*/ 172565 w 357139"/>
                    <a:gd name="connsiteY21" fmla="*/ 172429 h 357139"/>
                    <a:gd name="connsiteX22" fmla="*/ 86112 w 357139"/>
                    <a:gd name="connsiteY22" fmla="*/ 172429 h 357139"/>
                    <a:gd name="connsiteX23" fmla="*/ 101465 w 357139"/>
                    <a:gd name="connsiteY23" fmla="*/ 98803 h 357139"/>
                    <a:gd name="connsiteX24" fmla="*/ 73557 w 357139"/>
                    <a:gd name="connsiteY24" fmla="*/ 172429 h 357139"/>
                    <a:gd name="connsiteX25" fmla="*/ 12896 w 357139"/>
                    <a:gd name="connsiteY25" fmla="*/ 172429 h 357139"/>
                    <a:gd name="connsiteX26" fmla="*/ 33367 w 357139"/>
                    <a:gd name="connsiteY26" fmla="*/ 98803 h 357139"/>
                    <a:gd name="connsiteX27" fmla="*/ 88432 w 357139"/>
                    <a:gd name="connsiteY27" fmla="*/ 98803 h 357139"/>
                    <a:gd name="connsiteX28" fmla="*/ 73557 w 357139"/>
                    <a:gd name="connsiteY28" fmla="*/ 172429 h 357139"/>
                    <a:gd name="connsiteX29" fmla="*/ 86112 w 357139"/>
                    <a:gd name="connsiteY29" fmla="*/ 184984 h 357139"/>
                    <a:gd name="connsiteX30" fmla="*/ 172360 w 357139"/>
                    <a:gd name="connsiteY30" fmla="*/ 184984 h 357139"/>
                    <a:gd name="connsiteX31" fmla="*/ 172360 w 357139"/>
                    <a:gd name="connsiteY31" fmla="*/ 258609 h 357139"/>
                    <a:gd name="connsiteX32" fmla="*/ 101465 w 357139"/>
                    <a:gd name="connsiteY32" fmla="*/ 258609 h 357139"/>
                    <a:gd name="connsiteX33" fmla="*/ 86112 w 357139"/>
                    <a:gd name="connsiteY33" fmla="*/ 184847 h 357139"/>
                    <a:gd name="connsiteX34" fmla="*/ 172360 w 357139"/>
                    <a:gd name="connsiteY34" fmla="*/ 271096 h 357139"/>
                    <a:gd name="connsiteX35" fmla="*/ 172360 w 357139"/>
                    <a:gd name="connsiteY35" fmla="*/ 340490 h 357139"/>
                    <a:gd name="connsiteX36" fmla="*/ 107265 w 357139"/>
                    <a:gd name="connsiteY36" fmla="*/ 271096 h 357139"/>
                    <a:gd name="connsiteX37" fmla="*/ 184847 w 357139"/>
                    <a:gd name="connsiteY37" fmla="*/ 271096 h 357139"/>
                    <a:gd name="connsiteX38" fmla="*/ 249943 w 357139"/>
                    <a:gd name="connsiteY38" fmla="*/ 271096 h 357139"/>
                    <a:gd name="connsiteX39" fmla="*/ 185052 w 357139"/>
                    <a:gd name="connsiteY39" fmla="*/ 340354 h 357139"/>
                    <a:gd name="connsiteX40" fmla="*/ 184847 w 357139"/>
                    <a:gd name="connsiteY40" fmla="*/ 258609 h 357139"/>
                    <a:gd name="connsiteX41" fmla="*/ 184847 w 357139"/>
                    <a:gd name="connsiteY41" fmla="*/ 184847 h 357139"/>
                    <a:gd name="connsiteX42" fmla="*/ 271096 w 357139"/>
                    <a:gd name="connsiteY42" fmla="*/ 184847 h 357139"/>
                    <a:gd name="connsiteX43" fmla="*/ 255743 w 357139"/>
                    <a:gd name="connsiteY43" fmla="*/ 258472 h 357139"/>
                    <a:gd name="connsiteX44" fmla="*/ 283651 w 357139"/>
                    <a:gd name="connsiteY44" fmla="*/ 184984 h 357139"/>
                    <a:gd name="connsiteX45" fmla="*/ 344312 w 357139"/>
                    <a:gd name="connsiteY45" fmla="*/ 184984 h 357139"/>
                    <a:gd name="connsiteX46" fmla="*/ 323841 w 357139"/>
                    <a:gd name="connsiteY46" fmla="*/ 258609 h 357139"/>
                    <a:gd name="connsiteX47" fmla="*/ 268980 w 357139"/>
                    <a:gd name="connsiteY47" fmla="*/ 258609 h 357139"/>
                    <a:gd name="connsiteX48" fmla="*/ 283651 w 357139"/>
                    <a:gd name="connsiteY48" fmla="*/ 184847 h 357139"/>
                    <a:gd name="connsiteX49" fmla="*/ 283651 w 357139"/>
                    <a:gd name="connsiteY49" fmla="*/ 172429 h 357139"/>
                    <a:gd name="connsiteX50" fmla="*/ 268980 w 357139"/>
                    <a:gd name="connsiteY50" fmla="*/ 98803 h 357139"/>
                    <a:gd name="connsiteX51" fmla="*/ 324046 w 357139"/>
                    <a:gd name="connsiteY51" fmla="*/ 98803 h 357139"/>
                    <a:gd name="connsiteX52" fmla="*/ 344516 w 357139"/>
                    <a:gd name="connsiteY52" fmla="*/ 172429 h 357139"/>
                    <a:gd name="connsiteX53" fmla="*/ 316472 w 357139"/>
                    <a:gd name="connsiteY53" fmla="*/ 86317 h 357139"/>
                    <a:gd name="connsiteX54" fmla="*/ 263317 w 357139"/>
                    <a:gd name="connsiteY54" fmla="*/ 86317 h 357139"/>
                    <a:gd name="connsiteX55" fmla="*/ 203748 w 357139"/>
                    <a:gd name="connsiteY55" fmla="*/ 14807 h 357139"/>
                    <a:gd name="connsiteX56" fmla="*/ 316472 w 357139"/>
                    <a:gd name="connsiteY56" fmla="*/ 86180 h 357139"/>
                    <a:gd name="connsiteX57" fmla="*/ 153459 w 357139"/>
                    <a:gd name="connsiteY57" fmla="*/ 14807 h 357139"/>
                    <a:gd name="connsiteX58" fmla="*/ 93891 w 357139"/>
                    <a:gd name="connsiteY58" fmla="*/ 86317 h 357139"/>
                    <a:gd name="connsiteX59" fmla="*/ 40736 w 357139"/>
                    <a:gd name="connsiteY59" fmla="*/ 86317 h 357139"/>
                    <a:gd name="connsiteX60" fmla="*/ 153459 w 357139"/>
                    <a:gd name="connsiteY60" fmla="*/ 14670 h 357139"/>
                    <a:gd name="connsiteX61" fmla="*/ 40736 w 357139"/>
                    <a:gd name="connsiteY61" fmla="*/ 271096 h 357139"/>
                    <a:gd name="connsiteX62" fmla="*/ 93891 w 357139"/>
                    <a:gd name="connsiteY62" fmla="*/ 271096 h 357139"/>
                    <a:gd name="connsiteX63" fmla="*/ 153459 w 357139"/>
                    <a:gd name="connsiteY63" fmla="*/ 342605 h 357139"/>
                    <a:gd name="connsiteX64" fmla="*/ 40736 w 357139"/>
                    <a:gd name="connsiteY64" fmla="*/ 270959 h 357139"/>
                    <a:gd name="connsiteX65" fmla="*/ 203748 w 357139"/>
                    <a:gd name="connsiteY65" fmla="*/ 342605 h 357139"/>
                    <a:gd name="connsiteX66" fmla="*/ 263317 w 357139"/>
                    <a:gd name="connsiteY66" fmla="*/ 271096 h 357139"/>
                    <a:gd name="connsiteX67" fmla="*/ 316472 w 357139"/>
                    <a:gd name="connsiteY67" fmla="*/ 271096 h 357139"/>
                    <a:gd name="connsiteX68" fmla="*/ 203748 w 357139"/>
                    <a:gd name="connsiteY68" fmla="*/ 342469 h 35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57139" h="357139">
                      <a:moveTo>
                        <a:pt x="178570" y="0"/>
                      </a:moveTo>
                      <a:cubicBezTo>
                        <a:pt x="79948" y="0"/>
                        <a:pt x="0" y="79948"/>
                        <a:pt x="0" y="178570"/>
                      </a:cubicBezTo>
                      <a:cubicBezTo>
                        <a:pt x="0" y="277191"/>
                        <a:pt x="79949" y="357140"/>
                        <a:pt x="178570" y="357140"/>
                      </a:cubicBezTo>
                      <a:cubicBezTo>
                        <a:pt x="277191" y="357140"/>
                        <a:pt x="357139" y="277191"/>
                        <a:pt x="357139" y="178570"/>
                      </a:cubicBezTo>
                      <a:cubicBezTo>
                        <a:pt x="357026" y="79995"/>
                        <a:pt x="277144" y="113"/>
                        <a:pt x="178570" y="0"/>
                      </a:cubicBezTo>
                      <a:close/>
                      <a:moveTo>
                        <a:pt x="12896" y="184847"/>
                      </a:moveTo>
                      <a:lnTo>
                        <a:pt x="73557" y="184847"/>
                      </a:lnTo>
                      <a:cubicBezTo>
                        <a:pt x="73969" y="210073"/>
                        <a:pt x="78939" y="235016"/>
                        <a:pt x="88227" y="258472"/>
                      </a:cubicBezTo>
                      <a:lnTo>
                        <a:pt x="33162" y="258472"/>
                      </a:lnTo>
                      <a:cubicBezTo>
                        <a:pt x="20735" y="235856"/>
                        <a:pt x="13794" y="210637"/>
                        <a:pt x="12896" y="184847"/>
                      </a:cubicBezTo>
                      <a:close/>
                      <a:moveTo>
                        <a:pt x="185052" y="86180"/>
                      </a:moveTo>
                      <a:lnTo>
                        <a:pt x="185052" y="16922"/>
                      </a:lnTo>
                      <a:cubicBezTo>
                        <a:pt x="212373" y="33865"/>
                        <a:pt x="234698" y="57767"/>
                        <a:pt x="249738" y="86180"/>
                      </a:cubicBezTo>
                      <a:close/>
                      <a:moveTo>
                        <a:pt x="255675" y="98667"/>
                      </a:moveTo>
                      <a:cubicBezTo>
                        <a:pt x="265492" y="122039"/>
                        <a:pt x="270727" y="147080"/>
                        <a:pt x="271096" y="172429"/>
                      </a:cubicBezTo>
                      <a:lnTo>
                        <a:pt x="185052" y="172429"/>
                      </a:lnTo>
                      <a:lnTo>
                        <a:pt x="185052" y="98667"/>
                      </a:lnTo>
                      <a:close/>
                      <a:moveTo>
                        <a:pt x="172565" y="86180"/>
                      </a:moveTo>
                      <a:lnTo>
                        <a:pt x="107264" y="86180"/>
                      </a:lnTo>
                      <a:cubicBezTo>
                        <a:pt x="122202" y="57526"/>
                        <a:pt x="144719" y="33523"/>
                        <a:pt x="172360" y="16785"/>
                      </a:cubicBezTo>
                      <a:close/>
                      <a:moveTo>
                        <a:pt x="172565" y="98667"/>
                      </a:moveTo>
                      <a:lnTo>
                        <a:pt x="172565" y="172429"/>
                      </a:lnTo>
                      <a:lnTo>
                        <a:pt x="86112" y="172429"/>
                      </a:lnTo>
                      <a:cubicBezTo>
                        <a:pt x="86503" y="147134"/>
                        <a:pt x="91713" y="122146"/>
                        <a:pt x="101465" y="98803"/>
                      </a:cubicBezTo>
                      <a:close/>
                      <a:moveTo>
                        <a:pt x="73557" y="172429"/>
                      </a:moveTo>
                      <a:lnTo>
                        <a:pt x="12896" y="172429"/>
                      </a:lnTo>
                      <a:cubicBezTo>
                        <a:pt x="13874" y="146625"/>
                        <a:pt x="20885" y="121409"/>
                        <a:pt x="33367" y="98803"/>
                      </a:cubicBezTo>
                      <a:lnTo>
                        <a:pt x="88432" y="98803"/>
                      </a:lnTo>
                      <a:cubicBezTo>
                        <a:pt x="79074" y="122247"/>
                        <a:pt x="74034" y="147190"/>
                        <a:pt x="73557" y="172429"/>
                      </a:cubicBezTo>
                      <a:close/>
                      <a:moveTo>
                        <a:pt x="86112" y="184984"/>
                      </a:moveTo>
                      <a:lnTo>
                        <a:pt x="172360" y="184984"/>
                      </a:lnTo>
                      <a:lnTo>
                        <a:pt x="172360" y="258609"/>
                      </a:lnTo>
                      <a:lnTo>
                        <a:pt x="101465" y="258609"/>
                      </a:lnTo>
                      <a:cubicBezTo>
                        <a:pt x="91696" y="235224"/>
                        <a:pt x="86485" y="210188"/>
                        <a:pt x="86112" y="184847"/>
                      </a:cubicBezTo>
                      <a:close/>
                      <a:moveTo>
                        <a:pt x="172360" y="271096"/>
                      </a:moveTo>
                      <a:lnTo>
                        <a:pt x="172360" y="340490"/>
                      </a:lnTo>
                      <a:cubicBezTo>
                        <a:pt x="144719" y="323753"/>
                        <a:pt x="122203" y="299749"/>
                        <a:pt x="107265" y="271096"/>
                      </a:cubicBezTo>
                      <a:close/>
                      <a:moveTo>
                        <a:pt x="184847" y="271096"/>
                      </a:moveTo>
                      <a:lnTo>
                        <a:pt x="249943" y="271096"/>
                      </a:lnTo>
                      <a:cubicBezTo>
                        <a:pt x="235041" y="299673"/>
                        <a:pt x="212599" y="323624"/>
                        <a:pt x="185052" y="340354"/>
                      </a:cubicBezTo>
                      <a:close/>
                      <a:moveTo>
                        <a:pt x="184847" y="258609"/>
                      </a:moveTo>
                      <a:lnTo>
                        <a:pt x="184847" y="184847"/>
                      </a:lnTo>
                      <a:lnTo>
                        <a:pt x="271096" y="184847"/>
                      </a:lnTo>
                      <a:cubicBezTo>
                        <a:pt x="270705" y="210142"/>
                        <a:pt x="265494" y="235130"/>
                        <a:pt x="255743" y="258472"/>
                      </a:cubicBezTo>
                      <a:close/>
                      <a:moveTo>
                        <a:pt x="283651" y="184984"/>
                      </a:moveTo>
                      <a:lnTo>
                        <a:pt x="344312" y="184984"/>
                      </a:lnTo>
                      <a:cubicBezTo>
                        <a:pt x="343352" y="210790"/>
                        <a:pt x="336339" y="236010"/>
                        <a:pt x="323841" y="258609"/>
                      </a:cubicBezTo>
                      <a:lnTo>
                        <a:pt x="268980" y="258609"/>
                      </a:lnTo>
                      <a:cubicBezTo>
                        <a:pt x="278251" y="235099"/>
                        <a:pt x="283221" y="210115"/>
                        <a:pt x="283651" y="184847"/>
                      </a:cubicBezTo>
                      <a:close/>
                      <a:moveTo>
                        <a:pt x="283651" y="172429"/>
                      </a:moveTo>
                      <a:cubicBezTo>
                        <a:pt x="283204" y="147207"/>
                        <a:pt x="278236" y="122270"/>
                        <a:pt x="268980" y="98803"/>
                      </a:cubicBezTo>
                      <a:lnTo>
                        <a:pt x="324046" y="98803"/>
                      </a:lnTo>
                      <a:cubicBezTo>
                        <a:pt x="336527" y="121409"/>
                        <a:pt x="343538" y="146625"/>
                        <a:pt x="344516" y="172429"/>
                      </a:cubicBezTo>
                      <a:close/>
                      <a:moveTo>
                        <a:pt x="316472" y="86317"/>
                      </a:moveTo>
                      <a:lnTo>
                        <a:pt x="263317" y="86317"/>
                      </a:lnTo>
                      <a:cubicBezTo>
                        <a:pt x="249482" y="58048"/>
                        <a:pt x="229051" y="33522"/>
                        <a:pt x="203748" y="14807"/>
                      </a:cubicBezTo>
                      <a:cubicBezTo>
                        <a:pt x="249638" y="21820"/>
                        <a:pt x="290507" y="47697"/>
                        <a:pt x="316472" y="86180"/>
                      </a:cubicBezTo>
                      <a:close/>
                      <a:moveTo>
                        <a:pt x="153459" y="14807"/>
                      </a:moveTo>
                      <a:cubicBezTo>
                        <a:pt x="128140" y="33504"/>
                        <a:pt x="107705" y="58035"/>
                        <a:pt x="93891" y="86317"/>
                      </a:cubicBezTo>
                      <a:lnTo>
                        <a:pt x="40736" y="86317"/>
                      </a:lnTo>
                      <a:cubicBezTo>
                        <a:pt x="66647" y="47731"/>
                        <a:pt x="107523" y="21750"/>
                        <a:pt x="153459" y="14670"/>
                      </a:cubicBezTo>
                      <a:close/>
                      <a:moveTo>
                        <a:pt x="40736" y="271096"/>
                      </a:moveTo>
                      <a:lnTo>
                        <a:pt x="93891" y="271096"/>
                      </a:lnTo>
                      <a:cubicBezTo>
                        <a:pt x="107705" y="299377"/>
                        <a:pt x="128140" y="323908"/>
                        <a:pt x="153459" y="342605"/>
                      </a:cubicBezTo>
                      <a:cubicBezTo>
                        <a:pt x="107524" y="335526"/>
                        <a:pt x="66647" y="309545"/>
                        <a:pt x="40736" y="270959"/>
                      </a:cubicBezTo>
                      <a:close/>
                      <a:moveTo>
                        <a:pt x="203748" y="342605"/>
                      </a:moveTo>
                      <a:cubicBezTo>
                        <a:pt x="229051" y="323890"/>
                        <a:pt x="249482" y="299364"/>
                        <a:pt x="263317" y="271096"/>
                      </a:cubicBezTo>
                      <a:lnTo>
                        <a:pt x="316472" y="271096"/>
                      </a:lnTo>
                      <a:cubicBezTo>
                        <a:pt x="290507" y="309578"/>
                        <a:pt x="249638" y="335455"/>
                        <a:pt x="203748" y="342469"/>
                      </a:cubicBezTo>
                      <a:close/>
                    </a:path>
                  </a:pathLst>
                </a:custGeom>
                <a:solidFill>
                  <a:srgbClr val="FFFFFF"/>
                </a:solidFill>
                <a:ln w="6816" cap="flat">
                  <a:noFill/>
                  <a:prstDash val="solid"/>
                  <a:miter/>
                </a:ln>
              </p:spPr>
              <p:txBody>
                <a:bodyPr rtlCol="0" anchor="ctr"/>
                <a:lstStyle/>
                <a:p>
                  <a:endParaRPr lang="en-SG" sz="1059"/>
                </a:p>
              </p:txBody>
            </p:sp>
          </p:grpSp>
          <p:sp>
            <p:nvSpPr>
              <p:cNvPr id="39" name="TextBox 38">
                <a:extLst>
                  <a:ext uri="{FF2B5EF4-FFF2-40B4-BE49-F238E27FC236}">
                    <a16:creationId xmlns:a16="http://schemas.microsoft.com/office/drawing/2014/main" xmlns="" id="{57FEC451-FEAE-49EA-9BBB-931FEBA950B0}"/>
                  </a:ext>
                </a:extLst>
              </p:cNvPr>
              <p:cNvSpPr txBox="1"/>
              <p:nvPr/>
            </p:nvSpPr>
            <p:spPr>
              <a:xfrm>
                <a:off x="7017089" y="3256458"/>
                <a:ext cx="1201403" cy="422343"/>
              </a:xfrm>
              <a:prstGeom prst="rect">
                <a:avLst/>
              </a:prstGeom>
              <a:noFill/>
            </p:spPr>
            <p:txBody>
              <a:bodyPr wrap="square" rtlCol="0">
                <a:spAutoFit/>
              </a:bodyPr>
              <a:lstStyle/>
              <a:p>
                <a:pPr algn="ctr"/>
                <a:r>
                  <a:rPr lang="en-US" sz="900" b="1" dirty="0">
                    <a:solidFill>
                      <a:srgbClr val="021859"/>
                    </a:solidFill>
                    <a:latin typeface="Arsenal" panose="00000500000000000000" pitchFamily="2" charset="0"/>
                  </a:rPr>
                  <a:t>Global Influence &amp; Reputation</a:t>
                </a:r>
                <a:endParaRPr lang="en-SG" sz="900" b="1" dirty="0">
                  <a:solidFill>
                    <a:srgbClr val="021859"/>
                  </a:solidFill>
                  <a:latin typeface="Arsenal" panose="00000500000000000000" pitchFamily="2" charset="0"/>
                </a:endParaRPr>
              </a:p>
            </p:txBody>
          </p:sp>
          <p:sp>
            <p:nvSpPr>
              <p:cNvPr id="40" name="Freeform: Shape 39">
                <a:extLst>
                  <a:ext uri="{FF2B5EF4-FFF2-40B4-BE49-F238E27FC236}">
                    <a16:creationId xmlns:a16="http://schemas.microsoft.com/office/drawing/2014/main" xmlns="" id="{52731D54-DE6F-451F-90A3-E0D8EFCF85AE}"/>
                  </a:ext>
                </a:extLst>
              </p:cNvPr>
              <p:cNvSpPr/>
              <p:nvPr/>
            </p:nvSpPr>
            <p:spPr>
              <a:xfrm>
                <a:off x="8262497" y="3709612"/>
                <a:ext cx="977664" cy="3348651"/>
              </a:xfrm>
              <a:custGeom>
                <a:avLst/>
                <a:gdLst>
                  <a:gd name="connsiteX0" fmla="*/ 96484 w 977664"/>
                  <a:gd name="connsiteY0" fmla="*/ 273 h 2899011"/>
                  <a:gd name="connsiteX1" fmla="*/ 0 w 977664"/>
                  <a:gd name="connsiteY1" fmla="*/ 84543 h 2899011"/>
                  <a:gd name="connsiteX2" fmla="*/ 0 w 977664"/>
                  <a:gd name="connsiteY2" fmla="*/ 2814810 h 2899011"/>
                  <a:gd name="connsiteX3" fmla="*/ 96484 w 977664"/>
                  <a:gd name="connsiteY3" fmla="*/ 2899012 h 2899011"/>
                  <a:gd name="connsiteX4" fmla="*/ 881181 w 977664"/>
                  <a:gd name="connsiteY4" fmla="*/ 2899012 h 2899011"/>
                  <a:gd name="connsiteX5" fmla="*/ 977664 w 977664"/>
                  <a:gd name="connsiteY5" fmla="*/ 2814810 h 2899011"/>
                  <a:gd name="connsiteX6" fmla="*/ 977664 w 977664"/>
                  <a:gd name="connsiteY6" fmla="*/ 84270 h 2899011"/>
                  <a:gd name="connsiteX7" fmla="*/ 881181 w 977664"/>
                  <a:gd name="connsiteY7" fmla="*/ 0 h 289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664" h="2899011">
                    <a:moveTo>
                      <a:pt x="96484" y="273"/>
                    </a:moveTo>
                    <a:cubicBezTo>
                      <a:pt x="43193" y="273"/>
                      <a:pt x="0" y="38007"/>
                      <a:pt x="0" y="84543"/>
                    </a:cubicBezTo>
                    <a:lnTo>
                      <a:pt x="0" y="2814810"/>
                    </a:lnTo>
                    <a:cubicBezTo>
                      <a:pt x="0" y="2861346"/>
                      <a:pt x="43193" y="2899012"/>
                      <a:pt x="96484" y="2899012"/>
                    </a:cubicBezTo>
                    <a:lnTo>
                      <a:pt x="881181" y="2899012"/>
                    </a:lnTo>
                    <a:cubicBezTo>
                      <a:pt x="934472" y="2899012"/>
                      <a:pt x="977664" y="2861346"/>
                      <a:pt x="977664" y="2814810"/>
                    </a:cubicBezTo>
                    <a:lnTo>
                      <a:pt x="977664" y="84270"/>
                    </a:lnTo>
                    <a:cubicBezTo>
                      <a:pt x="977664" y="37734"/>
                      <a:pt x="934472" y="0"/>
                      <a:pt x="881181" y="0"/>
                    </a:cubicBezTo>
                    <a:close/>
                  </a:path>
                </a:pathLst>
              </a:custGeom>
              <a:solidFill>
                <a:srgbClr val="F21905">
                  <a:alpha val="10000"/>
                </a:srgbClr>
              </a:solidFill>
              <a:ln w="6816" cap="flat">
                <a:noFill/>
                <a:prstDash val="solid"/>
                <a:miter/>
              </a:ln>
            </p:spPr>
            <p:txBody>
              <a:bodyPr rtlCol="0" anchor="ctr"/>
              <a:lstStyle/>
              <a:p>
                <a:endParaRPr lang="en-SG" sz="1059" dirty="0"/>
              </a:p>
            </p:txBody>
          </p:sp>
          <p:sp>
            <p:nvSpPr>
              <p:cNvPr id="41" name="object 26">
                <a:extLst>
                  <a:ext uri="{FF2B5EF4-FFF2-40B4-BE49-F238E27FC236}">
                    <a16:creationId xmlns:a16="http://schemas.microsoft.com/office/drawing/2014/main" xmlns="" id="{E2EFD8EB-CF89-43C5-84DA-A70D66A3C365}"/>
                  </a:ext>
                </a:extLst>
              </p:cNvPr>
              <p:cNvSpPr txBox="1"/>
              <p:nvPr/>
            </p:nvSpPr>
            <p:spPr>
              <a:xfrm>
                <a:off x="8304172" y="3749165"/>
                <a:ext cx="894315" cy="2638722"/>
              </a:xfrm>
              <a:prstGeom prst="rect">
                <a:avLst/>
              </a:prstGeom>
            </p:spPr>
            <p:txBody>
              <a:bodyPr vert="horz" wrap="square" lIns="0" tIns="9361" rIns="0" bIns="0" rtlCol="0">
                <a:spAutoFit/>
              </a:bodyPr>
              <a:lstStyle/>
              <a:p>
                <a:pPr algn="ctr">
                  <a:spcBef>
                    <a:spcPts val="442"/>
                  </a:spcBef>
                  <a:spcAft>
                    <a:spcPts val="442"/>
                  </a:spcAft>
                </a:pPr>
                <a:r>
                  <a:rPr sz="800" dirty="0">
                    <a:solidFill>
                      <a:srgbClr val="231F20"/>
                    </a:solidFill>
                    <a:latin typeface="Arsenal"/>
                    <a:cs typeface="Arsenal"/>
                  </a:rPr>
                  <a:t>Education</a:t>
                </a:r>
                <a:endParaRPr sz="800" dirty="0">
                  <a:latin typeface="Arsenal"/>
                  <a:cs typeface="Arsenal"/>
                </a:endParaRPr>
              </a:p>
              <a:p>
                <a:pPr algn="ctr">
                  <a:spcBef>
                    <a:spcPts val="442"/>
                  </a:spcBef>
                  <a:spcAft>
                    <a:spcPts val="442"/>
                  </a:spcAft>
                </a:pPr>
                <a:r>
                  <a:rPr sz="800" spc="-4" dirty="0">
                    <a:solidFill>
                      <a:srgbClr val="231F20"/>
                    </a:solidFill>
                    <a:latin typeface="Arsenal"/>
                    <a:cs typeface="Arsenal"/>
                  </a:rPr>
                  <a:t>Health</a:t>
                </a:r>
                <a:endParaRPr sz="800" dirty="0">
                  <a:latin typeface="Arsenal"/>
                  <a:cs typeface="Arsenal"/>
                </a:endParaRPr>
              </a:p>
              <a:p>
                <a:pPr marL="9361" marR="3744" algn="ctr">
                  <a:spcBef>
                    <a:spcPts val="442"/>
                  </a:spcBef>
                  <a:spcAft>
                    <a:spcPts val="442"/>
                  </a:spcAft>
                </a:pPr>
                <a:r>
                  <a:rPr sz="800" dirty="0">
                    <a:solidFill>
                      <a:srgbClr val="231F20"/>
                    </a:solidFill>
                    <a:latin typeface="Arsenal"/>
                    <a:cs typeface="Arsenal"/>
                  </a:rPr>
                  <a:t>Satis</a:t>
                </a:r>
                <a:r>
                  <a:rPr sz="800" spc="-11" dirty="0">
                    <a:solidFill>
                      <a:srgbClr val="231F20"/>
                    </a:solidFill>
                    <a:latin typeface="Arsenal"/>
                    <a:cs typeface="Arsenal"/>
                  </a:rPr>
                  <a:t>f</a:t>
                </a:r>
                <a:r>
                  <a:rPr sz="800" dirty="0">
                    <a:solidFill>
                      <a:srgbClr val="231F20"/>
                    </a:solidFill>
                    <a:latin typeface="Arsenal"/>
                    <a:cs typeface="Arsenal"/>
                  </a:rPr>
                  <a:t>action with  Public</a:t>
                </a:r>
                <a:r>
                  <a:rPr sz="800" spc="-15" dirty="0">
                    <a:solidFill>
                      <a:srgbClr val="231F20"/>
                    </a:solidFill>
                    <a:latin typeface="Arsenal"/>
                    <a:cs typeface="Arsenal"/>
                  </a:rPr>
                  <a:t> </a:t>
                </a:r>
                <a:r>
                  <a:rPr sz="800" dirty="0">
                    <a:solidFill>
                      <a:srgbClr val="231F20"/>
                    </a:solidFill>
                    <a:latin typeface="Arsenal"/>
                    <a:cs typeface="Arsenal"/>
                  </a:rPr>
                  <a:t>Services</a:t>
                </a:r>
                <a:endParaRPr sz="800" dirty="0">
                  <a:latin typeface="Arsenal"/>
                  <a:cs typeface="Arsenal"/>
                </a:endParaRPr>
              </a:p>
              <a:p>
                <a:pPr algn="ctr">
                  <a:spcBef>
                    <a:spcPts val="442"/>
                  </a:spcBef>
                  <a:spcAft>
                    <a:spcPts val="442"/>
                  </a:spcAft>
                </a:pPr>
                <a:r>
                  <a:rPr sz="800" dirty="0">
                    <a:solidFill>
                      <a:srgbClr val="231F20"/>
                    </a:solidFill>
                    <a:latin typeface="Arsenal"/>
                    <a:cs typeface="Arsenal"/>
                  </a:rPr>
                  <a:t>Personal Safety</a:t>
                </a:r>
                <a:endParaRPr sz="800" dirty="0">
                  <a:latin typeface="Arsenal"/>
                  <a:cs typeface="Arsenal"/>
                </a:endParaRPr>
              </a:p>
              <a:p>
                <a:pPr marL="42593" marR="36977" algn="ctr">
                  <a:spcBef>
                    <a:spcPts val="442"/>
                  </a:spcBef>
                  <a:spcAft>
                    <a:spcPts val="442"/>
                  </a:spcAft>
                </a:pPr>
                <a:r>
                  <a:rPr sz="800" dirty="0">
                    <a:solidFill>
                      <a:srgbClr val="231F20"/>
                    </a:solidFill>
                    <a:latin typeface="Arsenal"/>
                    <a:cs typeface="Arsenal"/>
                  </a:rPr>
                  <a:t>Environmental  Performance</a:t>
                </a:r>
                <a:endParaRPr lang="en-US" sz="800" dirty="0">
                  <a:solidFill>
                    <a:srgbClr val="231F20"/>
                  </a:solidFill>
                  <a:latin typeface="Arsenal"/>
                  <a:cs typeface="Arsenal"/>
                </a:endParaRPr>
              </a:p>
              <a:p>
                <a:pPr marL="42593" marR="36977" algn="ctr">
                  <a:spcBef>
                    <a:spcPts val="442"/>
                  </a:spcBef>
                  <a:spcAft>
                    <a:spcPts val="442"/>
                  </a:spcAft>
                </a:pPr>
                <a:r>
                  <a:rPr sz="800" dirty="0">
                    <a:solidFill>
                      <a:srgbClr val="231F20"/>
                    </a:solidFill>
                    <a:latin typeface="Arsenal"/>
                    <a:cs typeface="Arsenal"/>
                  </a:rPr>
                  <a:t>Income Equality </a:t>
                </a:r>
                <a:endParaRPr lang="en-US" sz="800" dirty="0">
                  <a:solidFill>
                    <a:srgbClr val="231F20"/>
                  </a:solidFill>
                  <a:latin typeface="Arsenal"/>
                  <a:cs typeface="Arsenal"/>
                </a:endParaRPr>
              </a:p>
              <a:p>
                <a:pPr marL="42593" marR="36977" algn="ctr">
                  <a:spcBef>
                    <a:spcPts val="442"/>
                  </a:spcBef>
                  <a:spcAft>
                    <a:spcPts val="442"/>
                  </a:spcAft>
                </a:pPr>
                <a:r>
                  <a:rPr sz="800" dirty="0">
                    <a:solidFill>
                      <a:srgbClr val="231F20"/>
                    </a:solidFill>
                    <a:latin typeface="Arsenal"/>
                    <a:cs typeface="Arsenal"/>
                  </a:rPr>
                  <a:t>Social Mobility</a:t>
                </a:r>
                <a:endParaRPr lang="en-US" sz="800" dirty="0">
                  <a:solidFill>
                    <a:srgbClr val="231F20"/>
                  </a:solidFill>
                  <a:latin typeface="Arsenal"/>
                  <a:cs typeface="Arsenal"/>
                </a:endParaRPr>
              </a:p>
              <a:p>
                <a:pPr marL="42593" marR="36977" algn="ctr">
                  <a:spcBef>
                    <a:spcPts val="442"/>
                  </a:spcBef>
                  <a:spcAft>
                    <a:spcPts val="442"/>
                  </a:spcAft>
                </a:pPr>
                <a:r>
                  <a:rPr sz="800" dirty="0">
                    <a:solidFill>
                      <a:srgbClr val="231F20"/>
                    </a:solidFill>
                    <a:latin typeface="Arsenal"/>
                    <a:cs typeface="Arsenal"/>
                  </a:rPr>
                  <a:t> </a:t>
                </a:r>
                <a:r>
                  <a:rPr sz="800" spc="4" dirty="0">
                    <a:solidFill>
                      <a:srgbClr val="231F20"/>
                    </a:solidFill>
                    <a:latin typeface="Arsenal"/>
                    <a:cs typeface="Arsenal"/>
                  </a:rPr>
                  <a:t> </a:t>
                </a:r>
                <a:r>
                  <a:rPr sz="800" dirty="0">
                    <a:solidFill>
                      <a:srgbClr val="231F20"/>
                    </a:solidFill>
                    <a:latin typeface="Arsenal"/>
                    <a:cs typeface="Arsenal"/>
                  </a:rPr>
                  <a:t>Gender</a:t>
                </a:r>
                <a:r>
                  <a:rPr sz="800" spc="-11" dirty="0">
                    <a:solidFill>
                      <a:srgbClr val="231F20"/>
                    </a:solidFill>
                    <a:latin typeface="Arsenal"/>
                    <a:cs typeface="Arsenal"/>
                  </a:rPr>
                  <a:t> </a:t>
                </a:r>
                <a:r>
                  <a:rPr sz="800" dirty="0">
                    <a:solidFill>
                      <a:srgbClr val="231F20"/>
                    </a:solidFill>
                    <a:latin typeface="Arsenal"/>
                    <a:cs typeface="Arsenal"/>
                  </a:rPr>
                  <a:t>Gap</a:t>
                </a:r>
                <a:endParaRPr sz="800" dirty="0">
                  <a:latin typeface="Arsenal"/>
                  <a:cs typeface="Arsenal"/>
                </a:endParaRPr>
              </a:p>
              <a:p>
                <a:pPr marL="42593" marR="36977" indent="-468" algn="ctr">
                  <a:spcBef>
                    <a:spcPts val="442"/>
                  </a:spcBef>
                  <a:spcAft>
                    <a:spcPts val="442"/>
                  </a:spcAft>
                </a:pPr>
                <a:r>
                  <a:rPr sz="800" dirty="0">
                    <a:solidFill>
                      <a:srgbClr val="231F20"/>
                    </a:solidFill>
                    <a:latin typeface="Arsenal"/>
                    <a:cs typeface="Arsenal"/>
                  </a:rPr>
                  <a:t>Non- </a:t>
                </a:r>
                <a:r>
                  <a:rPr sz="800" spc="4" dirty="0">
                    <a:solidFill>
                      <a:srgbClr val="231F20"/>
                    </a:solidFill>
                    <a:latin typeface="Arsenal"/>
                    <a:cs typeface="Arsenal"/>
                  </a:rPr>
                  <a:t> </a:t>
                </a:r>
                <a:r>
                  <a:rPr sz="800" dirty="0">
                    <a:solidFill>
                      <a:srgbClr val="231F20"/>
                    </a:solidFill>
                    <a:latin typeface="Arsenal"/>
                    <a:cs typeface="Arsenal"/>
                  </a:rPr>
                  <a:t>Discrimination</a:t>
                </a:r>
                <a:endParaRPr sz="800" dirty="0">
                  <a:latin typeface="Arsenal"/>
                  <a:cs typeface="Arsenal"/>
                </a:endParaRPr>
              </a:p>
            </p:txBody>
          </p:sp>
          <p:grpSp>
            <p:nvGrpSpPr>
              <p:cNvPr id="42" name="Group 41">
                <a:extLst>
                  <a:ext uri="{FF2B5EF4-FFF2-40B4-BE49-F238E27FC236}">
                    <a16:creationId xmlns:a16="http://schemas.microsoft.com/office/drawing/2014/main" xmlns="" id="{31AD9712-D4A2-460B-A15E-268F3F27701F}"/>
                  </a:ext>
                </a:extLst>
              </p:cNvPr>
              <p:cNvGrpSpPr/>
              <p:nvPr/>
            </p:nvGrpSpPr>
            <p:grpSpPr>
              <a:xfrm>
                <a:off x="8474502" y="2662652"/>
                <a:ext cx="553654" cy="553654"/>
                <a:chOff x="8492843" y="2732858"/>
                <a:chExt cx="553654" cy="553654"/>
              </a:xfrm>
            </p:grpSpPr>
            <p:sp>
              <p:nvSpPr>
                <p:cNvPr id="44" name="Freeform: Shape 43">
                  <a:extLst>
                    <a:ext uri="{FF2B5EF4-FFF2-40B4-BE49-F238E27FC236}">
                      <a16:creationId xmlns:a16="http://schemas.microsoft.com/office/drawing/2014/main" xmlns="" id="{B8E8FCA5-AE2E-4C47-9E3F-028FB88DF998}"/>
                    </a:ext>
                  </a:extLst>
                </p:cNvPr>
                <p:cNvSpPr/>
                <p:nvPr/>
              </p:nvSpPr>
              <p:spPr>
                <a:xfrm>
                  <a:off x="8492843" y="2732858"/>
                  <a:ext cx="553654" cy="553654"/>
                </a:xfrm>
                <a:custGeom>
                  <a:avLst/>
                  <a:gdLst>
                    <a:gd name="connsiteX0" fmla="*/ 553655 w 553654"/>
                    <a:gd name="connsiteY0" fmla="*/ 276827 h 553654"/>
                    <a:gd name="connsiteX1" fmla="*/ 276828 w 553654"/>
                    <a:gd name="connsiteY1" fmla="*/ 553655 h 553654"/>
                    <a:gd name="connsiteX2" fmla="*/ 1 w 553654"/>
                    <a:gd name="connsiteY2" fmla="*/ 276827 h 553654"/>
                    <a:gd name="connsiteX3" fmla="*/ 276828 w 553654"/>
                    <a:gd name="connsiteY3" fmla="*/ 0 h 553654"/>
                    <a:gd name="connsiteX4" fmla="*/ 553655 w 553654"/>
                    <a:gd name="connsiteY4" fmla="*/ 276827 h 55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654" h="553654">
                      <a:moveTo>
                        <a:pt x="553655" y="276827"/>
                      </a:moveTo>
                      <a:cubicBezTo>
                        <a:pt x="553655" y="429715"/>
                        <a:pt x="429715" y="553655"/>
                        <a:pt x="276828" y="553655"/>
                      </a:cubicBezTo>
                      <a:cubicBezTo>
                        <a:pt x="123940" y="553655"/>
                        <a:pt x="1" y="429715"/>
                        <a:pt x="1" y="276827"/>
                      </a:cubicBezTo>
                      <a:cubicBezTo>
                        <a:pt x="1" y="123940"/>
                        <a:pt x="123941" y="0"/>
                        <a:pt x="276828" y="0"/>
                      </a:cubicBezTo>
                      <a:cubicBezTo>
                        <a:pt x="429716" y="0"/>
                        <a:pt x="553655" y="123940"/>
                        <a:pt x="553655" y="276827"/>
                      </a:cubicBezTo>
                      <a:close/>
                    </a:path>
                  </a:pathLst>
                </a:custGeom>
                <a:solidFill>
                  <a:srgbClr val="F21905"/>
                </a:solidFill>
                <a:ln w="6816" cap="flat">
                  <a:noFill/>
                  <a:prstDash val="solid"/>
                  <a:miter/>
                </a:ln>
              </p:spPr>
              <p:txBody>
                <a:bodyPr rtlCol="0" anchor="ctr"/>
                <a:lstStyle/>
                <a:p>
                  <a:endParaRPr lang="en-SG" sz="1059"/>
                </a:p>
              </p:txBody>
            </p:sp>
            <p:sp>
              <p:nvSpPr>
                <p:cNvPr id="45" name="Freeform: Shape 44">
                  <a:extLst>
                    <a:ext uri="{FF2B5EF4-FFF2-40B4-BE49-F238E27FC236}">
                      <a16:creationId xmlns:a16="http://schemas.microsoft.com/office/drawing/2014/main" xmlns="" id="{4B30FABF-5901-421A-B65E-7FE6664F3DEA}"/>
                    </a:ext>
                  </a:extLst>
                </p:cNvPr>
                <p:cNvSpPr/>
                <p:nvPr/>
              </p:nvSpPr>
              <p:spPr>
                <a:xfrm>
                  <a:off x="8694476" y="2776990"/>
                  <a:ext cx="150457" cy="461485"/>
                </a:xfrm>
                <a:custGeom>
                  <a:avLst/>
                  <a:gdLst>
                    <a:gd name="connsiteX0" fmla="*/ 150457 w 150457"/>
                    <a:gd name="connsiteY0" fmla="*/ 452956 h 461485"/>
                    <a:gd name="connsiteX1" fmla="*/ 149774 w 150457"/>
                    <a:gd name="connsiteY1" fmla="*/ 431394 h 461485"/>
                    <a:gd name="connsiteX2" fmla="*/ 148273 w 150457"/>
                    <a:gd name="connsiteY2" fmla="*/ 381514 h 461485"/>
                    <a:gd name="connsiteX3" fmla="*/ 148273 w 150457"/>
                    <a:gd name="connsiteY3" fmla="*/ 381514 h 461485"/>
                    <a:gd name="connsiteX4" fmla="*/ 148273 w 150457"/>
                    <a:gd name="connsiteY4" fmla="*/ 381037 h 461485"/>
                    <a:gd name="connsiteX5" fmla="*/ 148273 w 150457"/>
                    <a:gd name="connsiteY5" fmla="*/ 375237 h 461485"/>
                    <a:gd name="connsiteX6" fmla="*/ 145954 w 150457"/>
                    <a:gd name="connsiteY6" fmla="*/ 296972 h 461485"/>
                    <a:gd name="connsiteX7" fmla="*/ 143429 w 150457"/>
                    <a:gd name="connsiteY7" fmla="*/ 212839 h 461485"/>
                    <a:gd name="connsiteX8" fmla="*/ 143429 w 150457"/>
                    <a:gd name="connsiteY8" fmla="*/ 212361 h 461485"/>
                    <a:gd name="connsiteX9" fmla="*/ 143429 w 150457"/>
                    <a:gd name="connsiteY9" fmla="*/ 209222 h 461485"/>
                    <a:gd name="connsiteX10" fmla="*/ 140904 w 150457"/>
                    <a:gd name="connsiteY10" fmla="*/ 124611 h 461485"/>
                    <a:gd name="connsiteX11" fmla="*/ 138857 w 150457"/>
                    <a:gd name="connsiteY11" fmla="*/ 55694 h 461485"/>
                    <a:gd name="connsiteX12" fmla="*/ 137629 w 150457"/>
                    <a:gd name="connsiteY12" fmla="*/ 15095 h 461485"/>
                    <a:gd name="connsiteX13" fmla="*/ 137629 w 150457"/>
                    <a:gd name="connsiteY13" fmla="*/ 9363 h 461485"/>
                    <a:gd name="connsiteX14" fmla="*/ 129100 w 150457"/>
                    <a:gd name="connsiteY14" fmla="*/ 766 h 461485"/>
                    <a:gd name="connsiteX15" fmla="*/ 120571 w 150457"/>
                    <a:gd name="connsiteY15" fmla="*/ 9363 h 461485"/>
                    <a:gd name="connsiteX16" fmla="*/ 121185 w 150457"/>
                    <a:gd name="connsiteY16" fmla="*/ 30857 h 461485"/>
                    <a:gd name="connsiteX17" fmla="*/ 121185 w 150457"/>
                    <a:gd name="connsiteY17" fmla="*/ 35565 h 461485"/>
                    <a:gd name="connsiteX18" fmla="*/ 29614 w 150457"/>
                    <a:gd name="connsiteY18" fmla="*/ 35565 h 461485"/>
                    <a:gd name="connsiteX19" fmla="*/ 30227 w 150457"/>
                    <a:gd name="connsiteY19" fmla="*/ 15095 h 461485"/>
                    <a:gd name="connsiteX20" fmla="*/ 30227 w 150457"/>
                    <a:gd name="connsiteY20" fmla="*/ 9363 h 461485"/>
                    <a:gd name="connsiteX21" fmla="*/ 22429 w 150457"/>
                    <a:gd name="connsiteY21" fmla="*/ 35 h 461485"/>
                    <a:gd name="connsiteX22" fmla="*/ 13100 w 150457"/>
                    <a:gd name="connsiteY22" fmla="*/ 7833 h 461485"/>
                    <a:gd name="connsiteX23" fmla="*/ 13100 w 150457"/>
                    <a:gd name="connsiteY23" fmla="*/ 9363 h 461485"/>
                    <a:gd name="connsiteX24" fmla="*/ 12418 w 150457"/>
                    <a:gd name="connsiteY24" fmla="*/ 30857 h 461485"/>
                    <a:gd name="connsiteX25" fmla="*/ 10781 w 150457"/>
                    <a:gd name="connsiteY25" fmla="*/ 87082 h 461485"/>
                    <a:gd name="connsiteX26" fmla="*/ 8393 w 150457"/>
                    <a:gd name="connsiteY26" fmla="*/ 165347 h 461485"/>
                    <a:gd name="connsiteX27" fmla="*/ 7028 w 150457"/>
                    <a:gd name="connsiteY27" fmla="*/ 212361 h 461485"/>
                    <a:gd name="connsiteX28" fmla="*/ 7028 w 150457"/>
                    <a:gd name="connsiteY28" fmla="*/ 212839 h 461485"/>
                    <a:gd name="connsiteX29" fmla="*/ 5868 w 150457"/>
                    <a:gd name="connsiteY29" fmla="*/ 253097 h 461485"/>
                    <a:gd name="connsiteX30" fmla="*/ 3275 w 150457"/>
                    <a:gd name="connsiteY30" fmla="*/ 337708 h 461485"/>
                    <a:gd name="connsiteX31" fmla="*/ 1979 w 150457"/>
                    <a:gd name="connsiteY31" fmla="*/ 381037 h 461485"/>
                    <a:gd name="connsiteX32" fmla="*/ 1979 w 150457"/>
                    <a:gd name="connsiteY32" fmla="*/ 381514 h 461485"/>
                    <a:gd name="connsiteX33" fmla="*/ 1979 w 150457"/>
                    <a:gd name="connsiteY33" fmla="*/ 381514 h 461485"/>
                    <a:gd name="connsiteX34" fmla="*/ 1228 w 150457"/>
                    <a:gd name="connsiteY34" fmla="*/ 406625 h 461485"/>
                    <a:gd name="connsiteX35" fmla="*/ 0 w 150457"/>
                    <a:gd name="connsiteY35" fmla="*/ 447224 h 461485"/>
                    <a:gd name="connsiteX36" fmla="*/ 0 w 150457"/>
                    <a:gd name="connsiteY36" fmla="*/ 452956 h 461485"/>
                    <a:gd name="connsiteX37" fmla="*/ 8529 w 150457"/>
                    <a:gd name="connsiteY37" fmla="*/ 461485 h 461485"/>
                    <a:gd name="connsiteX38" fmla="*/ 17059 w 150457"/>
                    <a:gd name="connsiteY38" fmla="*/ 452956 h 461485"/>
                    <a:gd name="connsiteX39" fmla="*/ 17741 w 150457"/>
                    <a:gd name="connsiteY39" fmla="*/ 431394 h 461485"/>
                    <a:gd name="connsiteX40" fmla="*/ 18969 w 150457"/>
                    <a:gd name="connsiteY40" fmla="*/ 390453 h 461485"/>
                    <a:gd name="connsiteX41" fmla="*/ 131283 w 150457"/>
                    <a:gd name="connsiteY41" fmla="*/ 390453 h 461485"/>
                    <a:gd name="connsiteX42" fmla="*/ 131760 w 150457"/>
                    <a:gd name="connsiteY42" fmla="*/ 406966 h 461485"/>
                    <a:gd name="connsiteX43" fmla="*/ 132989 w 150457"/>
                    <a:gd name="connsiteY43" fmla="*/ 447565 h 461485"/>
                    <a:gd name="connsiteX44" fmla="*/ 132989 w 150457"/>
                    <a:gd name="connsiteY44" fmla="*/ 453297 h 461485"/>
                    <a:gd name="connsiteX45" fmla="*/ 142318 w 150457"/>
                    <a:gd name="connsiteY45" fmla="*/ 461095 h 461485"/>
                    <a:gd name="connsiteX46" fmla="*/ 150116 w 150457"/>
                    <a:gd name="connsiteY46" fmla="*/ 453297 h 461485"/>
                    <a:gd name="connsiteX47" fmla="*/ 124460 w 150457"/>
                    <a:gd name="connsiteY47" fmla="*/ 165143 h 461485"/>
                    <a:gd name="connsiteX48" fmla="*/ 125688 w 150457"/>
                    <a:gd name="connsiteY48" fmla="*/ 204036 h 461485"/>
                    <a:gd name="connsiteX49" fmla="*/ 24359 w 150457"/>
                    <a:gd name="connsiteY49" fmla="*/ 204036 h 461485"/>
                    <a:gd name="connsiteX50" fmla="*/ 26338 w 150457"/>
                    <a:gd name="connsiteY50" fmla="*/ 136825 h 461485"/>
                    <a:gd name="connsiteX51" fmla="*/ 123641 w 150457"/>
                    <a:gd name="connsiteY51" fmla="*/ 136825 h 461485"/>
                    <a:gd name="connsiteX52" fmla="*/ 23814 w 150457"/>
                    <a:gd name="connsiteY52" fmla="*/ 221163 h 461485"/>
                    <a:gd name="connsiteX53" fmla="*/ 126166 w 150457"/>
                    <a:gd name="connsiteY53" fmla="*/ 221163 h 461485"/>
                    <a:gd name="connsiteX54" fmla="*/ 127121 w 150457"/>
                    <a:gd name="connsiteY54" fmla="*/ 252892 h 461485"/>
                    <a:gd name="connsiteX55" fmla="*/ 128213 w 150457"/>
                    <a:gd name="connsiteY55" fmla="*/ 288443 h 461485"/>
                    <a:gd name="connsiteX56" fmla="*/ 22108 w 150457"/>
                    <a:gd name="connsiteY56" fmla="*/ 288443 h 461485"/>
                    <a:gd name="connsiteX57" fmla="*/ 24019 w 150457"/>
                    <a:gd name="connsiteY57" fmla="*/ 221368 h 461485"/>
                    <a:gd name="connsiteX58" fmla="*/ 64754 w 150457"/>
                    <a:gd name="connsiteY58" fmla="*/ 52419 h 461485"/>
                    <a:gd name="connsiteX59" fmla="*/ 121321 w 150457"/>
                    <a:gd name="connsiteY59" fmla="*/ 52419 h 461485"/>
                    <a:gd name="connsiteX60" fmla="*/ 122344 w 150457"/>
                    <a:gd name="connsiteY60" fmla="*/ 86878 h 461485"/>
                    <a:gd name="connsiteX61" fmla="*/ 123299 w 150457"/>
                    <a:gd name="connsiteY61" fmla="*/ 119698 h 461485"/>
                    <a:gd name="connsiteX62" fmla="*/ 27089 w 150457"/>
                    <a:gd name="connsiteY62" fmla="*/ 119698 h 461485"/>
                    <a:gd name="connsiteX63" fmla="*/ 29000 w 150457"/>
                    <a:gd name="connsiteY63" fmla="*/ 55490 h 461485"/>
                    <a:gd name="connsiteX64" fmla="*/ 29000 w 150457"/>
                    <a:gd name="connsiteY64" fmla="*/ 52419 h 461485"/>
                    <a:gd name="connsiteX65" fmla="*/ 102761 w 150457"/>
                    <a:gd name="connsiteY65" fmla="*/ 372780 h 461485"/>
                    <a:gd name="connsiteX66" fmla="*/ 19515 w 150457"/>
                    <a:gd name="connsiteY66" fmla="*/ 372780 h 461485"/>
                    <a:gd name="connsiteX67" fmla="*/ 21494 w 150457"/>
                    <a:gd name="connsiteY67" fmla="*/ 305501 h 461485"/>
                    <a:gd name="connsiteX68" fmla="*/ 128895 w 150457"/>
                    <a:gd name="connsiteY68" fmla="*/ 305501 h 461485"/>
                    <a:gd name="connsiteX69" fmla="*/ 129850 w 150457"/>
                    <a:gd name="connsiteY69" fmla="*/ 337503 h 461485"/>
                    <a:gd name="connsiteX70" fmla="*/ 130942 w 150457"/>
                    <a:gd name="connsiteY70" fmla="*/ 372780 h 46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50457" h="461485">
                      <a:moveTo>
                        <a:pt x="150457" y="452956"/>
                      </a:moveTo>
                      <a:lnTo>
                        <a:pt x="149774" y="431394"/>
                      </a:lnTo>
                      <a:cubicBezTo>
                        <a:pt x="149297" y="414813"/>
                        <a:pt x="148752" y="398164"/>
                        <a:pt x="148273" y="381514"/>
                      </a:cubicBezTo>
                      <a:lnTo>
                        <a:pt x="148273" y="381514"/>
                      </a:lnTo>
                      <a:lnTo>
                        <a:pt x="148273" y="381037"/>
                      </a:lnTo>
                      <a:lnTo>
                        <a:pt x="148273" y="375237"/>
                      </a:lnTo>
                      <a:cubicBezTo>
                        <a:pt x="147523" y="349171"/>
                        <a:pt x="146704" y="323037"/>
                        <a:pt x="145954" y="296972"/>
                      </a:cubicBezTo>
                      <a:cubicBezTo>
                        <a:pt x="145135" y="268905"/>
                        <a:pt x="144293" y="240860"/>
                        <a:pt x="143429" y="212839"/>
                      </a:cubicBezTo>
                      <a:lnTo>
                        <a:pt x="143429" y="212361"/>
                      </a:lnTo>
                      <a:lnTo>
                        <a:pt x="143429" y="209222"/>
                      </a:lnTo>
                      <a:cubicBezTo>
                        <a:pt x="142610" y="181064"/>
                        <a:pt x="141768" y="152861"/>
                        <a:pt x="140904" y="124611"/>
                      </a:cubicBezTo>
                      <a:lnTo>
                        <a:pt x="138857" y="55694"/>
                      </a:lnTo>
                      <a:lnTo>
                        <a:pt x="137629" y="15095"/>
                      </a:lnTo>
                      <a:lnTo>
                        <a:pt x="137629" y="9363"/>
                      </a:lnTo>
                      <a:cubicBezTo>
                        <a:pt x="137593" y="4657"/>
                        <a:pt x="133806" y="840"/>
                        <a:pt x="129100" y="766"/>
                      </a:cubicBezTo>
                      <a:cubicBezTo>
                        <a:pt x="124378" y="803"/>
                        <a:pt x="120571" y="4642"/>
                        <a:pt x="120571" y="9363"/>
                      </a:cubicBezTo>
                      <a:lnTo>
                        <a:pt x="121185" y="30857"/>
                      </a:lnTo>
                      <a:cubicBezTo>
                        <a:pt x="121185" y="32426"/>
                        <a:pt x="121185" y="33996"/>
                        <a:pt x="121185" y="35565"/>
                      </a:cubicBezTo>
                      <a:lnTo>
                        <a:pt x="29614" y="35565"/>
                      </a:lnTo>
                      <a:lnTo>
                        <a:pt x="30227" y="15095"/>
                      </a:lnTo>
                      <a:lnTo>
                        <a:pt x="30227" y="9363"/>
                      </a:lnTo>
                      <a:cubicBezTo>
                        <a:pt x="30650" y="4634"/>
                        <a:pt x="27159" y="457"/>
                        <a:pt x="22429" y="35"/>
                      </a:cubicBezTo>
                      <a:cubicBezTo>
                        <a:pt x="17700" y="-388"/>
                        <a:pt x="13524" y="3103"/>
                        <a:pt x="13100" y="7833"/>
                      </a:cubicBezTo>
                      <a:cubicBezTo>
                        <a:pt x="13055" y="8342"/>
                        <a:pt x="13055" y="8854"/>
                        <a:pt x="13100" y="9363"/>
                      </a:cubicBezTo>
                      <a:cubicBezTo>
                        <a:pt x="13101" y="16528"/>
                        <a:pt x="12692" y="23692"/>
                        <a:pt x="12418" y="30857"/>
                      </a:cubicBezTo>
                      <a:lnTo>
                        <a:pt x="10781" y="87082"/>
                      </a:lnTo>
                      <a:cubicBezTo>
                        <a:pt x="9962" y="113148"/>
                        <a:pt x="9211" y="139214"/>
                        <a:pt x="8393" y="165347"/>
                      </a:cubicBezTo>
                      <a:cubicBezTo>
                        <a:pt x="7892" y="180996"/>
                        <a:pt x="7437" y="196667"/>
                        <a:pt x="7028" y="212361"/>
                      </a:cubicBezTo>
                      <a:cubicBezTo>
                        <a:pt x="6991" y="212518"/>
                        <a:pt x="6991" y="212682"/>
                        <a:pt x="7028" y="212839"/>
                      </a:cubicBezTo>
                      <a:cubicBezTo>
                        <a:pt x="6619" y="226485"/>
                        <a:pt x="6278" y="239655"/>
                        <a:pt x="5868" y="253097"/>
                      </a:cubicBezTo>
                      <a:cubicBezTo>
                        <a:pt x="4958" y="281255"/>
                        <a:pt x="4094" y="309459"/>
                        <a:pt x="3275" y="337708"/>
                      </a:cubicBezTo>
                      <a:cubicBezTo>
                        <a:pt x="2866" y="352174"/>
                        <a:pt x="2456" y="366571"/>
                        <a:pt x="1979" y="381037"/>
                      </a:cubicBezTo>
                      <a:lnTo>
                        <a:pt x="1979" y="381514"/>
                      </a:lnTo>
                      <a:lnTo>
                        <a:pt x="1979" y="381514"/>
                      </a:lnTo>
                      <a:cubicBezTo>
                        <a:pt x="1979" y="389907"/>
                        <a:pt x="1501" y="398232"/>
                        <a:pt x="1228" y="406625"/>
                      </a:cubicBezTo>
                      <a:lnTo>
                        <a:pt x="0" y="447224"/>
                      </a:lnTo>
                      <a:lnTo>
                        <a:pt x="0" y="452956"/>
                      </a:lnTo>
                      <a:cubicBezTo>
                        <a:pt x="0" y="457667"/>
                        <a:pt x="3819" y="461485"/>
                        <a:pt x="8529" y="461485"/>
                      </a:cubicBezTo>
                      <a:cubicBezTo>
                        <a:pt x="13240" y="461485"/>
                        <a:pt x="17059" y="457667"/>
                        <a:pt x="17059" y="452956"/>
                      </a:cubicBezTo>
                      <a:cubicBezTo>
                        <a:pt x="17059" y="445791"/>
                        <a:pt x="17536" y="438627"/>
                        <a:pt x="17741" y="431394"/>
                      </a:cubicBezTo>
                      <a:lnTo>
                        <a:pt x="18969" y="390453"/>
                      </a:lnTo>
                      <a:lnTo>
                        <a:pt x="131283" y="390453"/>
                      </a:lnTo>
                      <a:lnTo>
                        <a:pt x="131760" y="406966"/>
                      </a:lnTo>
                      <a:lnTo>
                        <a:pt x="132989" y="447565"/>
                      </a:lnTo>
                      <a:lnTo>
                        <a:pt x="132989" y="453297"/>
                      </a:lnTo>
                      <a:cubicBezTo>
                        <a:pt x="133411" y="458027"/>
                        <a:pt x="137589" y="461518"/>
                        <a:pt x="142318" y="461095"/>
                      </a:cubicBezTo>
                      <a:cubicBezTo>
                        <a:pt x="146462" y="460725"/>
                        <a:pt x="149746" y="457441"/>
                        <a:pt x="150116" y="453297"/>
                      </a:cubicBezTo>
                      <a:close/>
                      <a:moveTo>
                        <a:pt x="124460" y="165143"/>
                      </a:moveTo>
                      <a:lnTo>
                        <a:pt x="125688" y="204036"/>
                      </a:lnTo>
                      <a:lnTo>
                        <a:pt x="24359" y="204036"/>
                      </a:lnTo>
                      <a:cubicBezTo>
                        <a:pt x="25042" y="181656"/>
                        <a:pt x="25725" y="159206"/>
                        <a:pt x="26338" y="136825"/>
                      </a:cubicBezTo>
                      <a:lnTo>
                        <a:pt x="123641" y="136825"/>
                      </a:lnTo>
                      <a:close/>
                      <a:moveTo>
                        <a:pt x="23814" y="221163"/>
                      </a:moveTo>
                      <a:lnTo>
                        <a:pt x="126166" y="221163"/>
                      </a:lnTo>
                      <a:cubicBezTo>
                        <a:pt x="126166" y="231740"/>
                        <a:pt x="126779" y="242316"/>
                        <a:pt x="127121" y="252892"/>
                      </a:cubicBezTo>
                      <a:cubicBezTo>
                        <a:pt x="127121" y="264697"/>
                        <a:pt x="127803" y="276570"/>
                        <a:pt x="128213" y="288443"/>
                      </a:cubicBezTo>
                      <a:lnTo>
                        <a:pt x="22108" y="288443"/>
                      </a:lnTo>
                      <a:cubicBezTo>
                        <a:pt x="22722" y="266198"/>
                        <a:pt x="23337" y="243817"/>
                        <a:pt x="24019" y="221368"/>
                      </a:cubicBezTo>
                      <a:close/>
                      <a:moveTo>
                        <a:pt x="64754" y="52419"/>
                      </a:moveTo>
                      <a:lnTo>
                        <a:pt x="121321" y="52419"/>
                      </a:lnTo>
                      <a:lnTo>
                        <a:pt x="122344" y="86878"/>
                      </a:lnTo>
                      <a:cubicBezTo>
                        <a:pt x="122344" y="97795"/>
                        <a:pt x="123027" y="108781"/>
                        <a:pt x="123299" y="119698"/>
                      </a:cubicBezTo>
                      <a:lnTo>
                        <a:pt x="27089" y="119698"/>
                      </a:lnTo>
                      <a:cubicBezTo>
                        <a:pt x="27703" y="98273"/>
                        <a:pt x="28386" y="76916"/>
                        <a:pt x="29000" y="55490"/>
                      </a:cubicBezTo>
                      <a:lnTo>
                        <a:pt x="29000" y="52419"/>
                      </a:lnTo>
                      <a:close/>
                      <a:moveTo>
                        <a:pt x="102761" y="372780"/>
                      </a:moveTo>
                      <a:lnTo>
                        <a:pt x="19515" y="372780"/>
                      </a:lnTo>
                      <a:cubicBezTo>
                        <a:pt x="20129" y="350331"/>
                        <a:pt x="20812" y="327950"/>
                        <a:pt x="21494" y="305501"/>
                      </a:cubicBezTo>
                      <a:lnTo>
                        <a:pt x="128895" y="305501"/>
                      </a:lnTo>
                      <a:cubicBezTo>
                        <a:pt x="128895" y="316146"/>
                        <a:pt x="129509" y="326859"/>
                        <a:pt x="129850" y="337503"/>
                      </a:cubicBezTo>
                      <a:cubicBezTo>
                        <a:pt x="129850" y="349239"/>
                        <a:pt x="130601" y="360976"/>
                        <a:pt x="130942" y="372780"/>
                      </a:cubicBezTo>
                      <a:close/>
                    </a:path>
                  </a:pathLst>
                </a:custGeom>
                <a:solidFill>
                  <a:srgbClr val="FFFFFF"/>
                </a:solidFill>
                <a:ln w="6816" cap="flat">
                  <a:noFill/>
                  <a:prstDash val="solid"/>
                  <a:miter/>
                </a:ln>
              </p:spPr>
              <p:txBody>
                <a:bodyPr rtlCol="0" anchor="ctr"/>
                <a:lstStyle/>
                <a:p>
                  <a:endParaRPr lang="en-SG" sz="1059"/>
                </a:p>
              </p:txBody>
            </p:sp>
          </p:grpSp>
          <p:sp>
            <p:nvSpPr>
              <p:cNvPr id="43" name="TextBox 42">
                <a:extLst>
                  <a:ext uri="{FF2B5EF4-FFF2-40B4-BE49-F238E27FC236}">
                    <a16:creationId xmlns:a16="http://schemas.microsoft.com/office/drawing/2014/main" xmlns="" id="{B7497A03-877B-4029-8236-4319F89A5D3F}"/>
                  </a:ext>
                </a:extLst>
              </p:cNvPr>
              <p:cNvSpPr txBox="1"/>
              <p:nvPr/>
            </p:nvSpPr>
            <p:spPr>
              <a:xfrm>
                <a:off x="8262496" y="3256458"/>
                <a:ext cx="977664" cy="422343"/>
              </a:xfrm>
              <a:prstGeom prst="rect">
                <a:avLst/>
              </a:prstGeom>
              <a:noFill/>
            </p:spPr>
            <p:txBody>
              <a:bodyPr wrap="square" rtlCol="0">
                <a:spAutoFit/>
              </a:bodyPr>
              <a:lstStyle/>
              <a:p>
                <a:pPr algn="ctr"/>
                <a:r>
                  <a:rPr lang="en-US" sz="900" b="1" dirty="0">
                    <a:solidFill>
                      <a:srgbClr val="D75C37"/>
                    </a:solidFill>
                    <a:latin typeface="Arsenal" panose="00000500000000000000" pitchFamily="2" charset="0"/>
                  </a:rPr>
                  <a:t>Helping People Rise</a:t>
                </a:r>
                <a:endParaRPr lang="en-SG" sz="900" b="1" dirty="0">
                  <a:solidFill>
                    <a:srgbClr val="D75C37"/>
                  </a:solidFill>
                  <a:latin typeface="Arsenal" panose="00000500000000000000" pitchFamily="2" charset="0"/>
                </a:endParaRPr>
              </a:p>
            </p:txBody>
          </p:sp>
        </p:grpSp>
        <p:pic>
          <p:nvPicPr>
            <p:cNvPr id="4" name="Graphic 3">
              <a:extLst>
                <a:ext uri="{FF2B5EF4-FFF2-40B4-BE49-F238E27FC236}">
                  <a16:creationId xmlns:a16="http://schemas.microsoft.com/office/drawing/2014/main" xmlns="" id="{2996537C-B56C-4719-B246-F074522EAA1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206396" y="1202421"/>
              <a:ext cx="1478943" cy="918349"/>
            </a:xfrm>
            <a:prstGeom prst="rect">
              <a:avLst/>
            </a:prstGeom>
          </p:spPr>
        </p:pic>
      </p:grpSp>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The Index Framework</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292551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Rectangle 169">
            <a:extLst>
              <a:ext uri="{FF2B5EF4-FFF2-40B4-BE49-F238E27FC236}">
                <a16:creationId xmlns:a16="http://schemas.microsoft.com/office/drawing/2014/main" xmlns="" id="{AE01AC65-F207-4AC0-A893-E25935ED6AED}"/>
              </a:ext>
            </a:extLst>
          </p:cNvPr>
          <p:cNvSpPr/>
          <p:nvPr/>
        </p:nvSpPr>
        <p:spPr>
          <a:xfrm>
            <a:off x="5361548" y="2289594"/>
            <a:ext cx="566208" cy="2152476"/>
          </a:xfrm>
          <a:prstGeom prst="rect">
            <a:avLst/>
          </a:prstGeom>
          <a:solidFill>
            <a:srgbClr val="FAF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8" name="Rectangle 77">
            <a:extLst>
              <a:ext uri="{FF2B5EF4-FFF2-40B4-BE49-F238E27FC236}">
                <a16:creationId xmlns:a16="http://schemas.microsoft.com/office/drawing/2014/main" xmlns="" id="{22312DDC-DD52-4B01-90DC-CC08D8CC5FD2}"/>
              </a:ext>
            </a:extLst>
          </p:cNvPr>
          <p:cNvSpPr/>
          <p:nvPr/>
        </p:nvSpPr>
        <p:spPr>
          <a:xfrm>
            <a:off x="5363795" y="2939984"/>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5" name="Rectangle 74">
            <a:extLst>
              <a:ext uri="{FF2B5EF4-FFF2-40B4-BE49-F238E27FC236}">
                <a16:creationId xmlns:a16="http://schemas.microsoft.com/office/drawing/2014/main" xmlns="" id="{8CB59539-6B54-4A55-B698-188620CF6C43}"/>
              </a:ext>
            </a:extLst>
          </p:cNvPr>
          <p:cNvSpPr/>
          <p:nvPr/>
        </p:nvSpPr>
        <p:spPr>
          <a:xfrm>
            <a:off x="5362422" y="2725432"/>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1" name="Rectangle 70">
            <a:extLst>
              <a:ext uri="{FF2B5EF4-FFF2-40B4-BE49-F238E27FC236}">
                <a16:creationId xmlns:a16="http://schemas.microsoft.com/office/drawing/2014/main" xmlns="" id="{B5182E9F-BF52-45EF-B08E-AEB24427C625}"/>
              </a:ext>
            </a:extLst>
          </p:cNvPr>
          <p:cNvSpPr/>
          <p:nvPr/>
        </p:nvSpPr>
        <p:spPr>
          <a:xfrm>
            <a:off x="5361473" y="3153864"/>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6" name="Rectangle 75">
            <a:extLst>
              <a:ext uri="{FF2B5EF4-FFF2-40B4-BE49-F238E27FC236}">
                <a16:creationId xmlns:a16="http://schemas.microsoft.com/office/drawing/2014/main" xmlns="" id="{627FB878-B347-42F8-86FE-5E203ECE8FA6}"/>
              </a:ext>
            </a:extLst>
          </p:cNvPr>
          <p:cNvSpPr/>
          <p:nvPr/>
        </p:nvSpPr>
        <p:spPr>
          <a:xfrm>
            <a:off x="5362422" y="3581546"/>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7" name="Rectangle 76">
            <a:extLst>
              <a:ext uri="{FF2B5EF4-FFF2-40B4-BE49-F238E27FC236}">
                <a16:creationId xmlns:a16="http://schemas.microsoft.com/office/drawing/2014/main" xmlns="" id="{8F95F6D3-1E78-4312-B0E7-5AD0AA22867A}"/>
              </a:ext>
            </a:extLst>
          </p:cNvPr>
          <p:cNvSpPr/>
          <p:nvPr/>
        </p:nvSpPr>
        <p:spPr>
          <a:xfrm>
            <a:off x="5362422" y="3795158"/>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60" name="Rectangle 59">
            <a:extLst>
              <a:ext uri="{FF2B5EF4-FFF2-40B4-BE49-F238E27FC236}">
                <a16:creationId xmlns:a16="http://schemas.microsoft.com/office/drawing/2014/main" xmlns="" id="{E17F0DA2-374A-466E-A03C-460AF2B9F6BD}"/>
              </a:ext>
            </a:extLst>
          </p:cNvPr>
          <p:cNvSpPr/>
          <p:nvPr/>
        </p:nvSpPr>
        <p:spPr>
          <a:xfrm>
            <a:off x="5364281" y="2512129"/>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79" name="Rectangle 78">
            <a:extLst>
              <a:ext uri="{FF2B5EF4-FFF2-40B4-BE49-F238E27FC236}">
                <a16:creationId xmlns:a16="http://schemas.microsoft.com/office/drawing/2014/main" xmlns="" id="{719DD8EE-C162-4E60-9BA2-FDD9156AA02B}"/>
              </a:ext>
            </a:extLst>
          </p:cNvPr>
          <p:cNvSpPr/>
          <p:nvPr/>
        </p:nvSpPr>
        <p:spPr>
          <a:xfrm>
            <a:off x="5363795" y="3367476"/>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aphicFrame>
        <p:nvGraphicFramePr>
          <p:cNvPr id="171" name="Table 8">
            <a:extLst>
              <a:ext uri="{FF2B5EF4-FFF2-40B4-BE49-F238E27FC236}">
                <a16:creationId xmlns:a16="http://schemas.microsoft.com/office/drawing/2014/main" xmlns="" id="{799B02C0-4A1A-4C2D-9DA6-D3BFB77E1BBE}"/>
              </a:ext>
            </a:extLst>
          </p:cNvPr>
          <p:cNvGraphicFramePr>
            <a:graphicFrameLocks noGrp="1"/>
          </p:cNvGraphicFramePr>
          <p:nvPr>
            <p:extLst>
              <p:ext uri="{D42A27DB-BD31-4B8C-83A1-F6EECF244321}">
                <p14:modId xmlns:p14="http://schemas.microsoft.com/office/powerpoint/2010/main" val="896500190"/>
              </p:ext>
            </p:extLst>
          </p:nvPr>
        </p:nvGraphicFramePr>
        <p:xfrm>
          <a:off x="3707854" y="1942987"/>
          <a:ext cx="2241515" cy="2499086"/>
        </p:xfrm>
        <a:graphic>
          <a:graphicData uri="http://schemas.openxmlformats.org/drawingml/2006/table">
            <a:tbl>
              <a:tblPr firstRow="1" bandRow="1">
                <a:tableStyleId>{5C22544A-7EE6-4342-B048-85BDC9FD1C3A}</a:tableStyleId>
              </a:tblPr>
              <a:tblGrid>
                <a:gridCol w="447347">
                  <a:extLst>
                    <a:ext uri="{9D8B030D-6E8A-4147-A177-3AD203B41FA5}">
                      <a16:colId xmlns:a16="http://schemas.microsoft.com/office/drawing/2014/main" xmlns="" val="2403941034"/>
                    </a:ext>
                  </a:extLst>
                </a:gridCol>
                <a:gridCol w="1202943">
                  <a:extLst>
                    <a:ext uri="{9D8B030D-6E8A-4147-A177-3AD203B41FA5}">
                      <a16:colId xmlns:a16="http://schemas.microsoft.com/office/drawing/2014/main" xmlns="" val="3068783623"/>
                    </a:ext>
                  </a:extLst>
                </a:gridCol>
                <a:gridCol w="591225">
                  <a:extLst>
                    <a:ext uri="{9D8B030D-6E8A-4147-A177-3AD203B41FA5}">
                      <a16:colId xmlns:a16="http://schemas.microsoft.com/office/drawing/2014/main" xmlns="" val="1375252717"/>
                    </a:ext>
                  </a:extLst>
                </a:gridCol>
              </a:tblGrid>
              <a:tr h="352889">
                <a:tc gridSpan="2">
                  <a:txBody>
                    <a:bodyPr/>
                    <a:lstStyle/>
                    <a:p>
                      <a:pPr algn="l" fontAlgn="ctr"/>
                      <a:r>
                        <a:rPr lang="en-SG" sz="1100" b="0" i="0" u="none" strike="noStrike" dirty="0">
                          <a:solidFill>
                            <a:srgbClr val="966E32"/>
                          </a:solidFill>
                          <a:effectLst/>
                          <a:latin typeface="Gill Sans MT Std Medium" panose="020B0602020104020203" pitchFamily="34" charset="0"/>
                        </a:rPr>
                        <a:t>Country</a:t>
                      </a:r>
                    </a:p>
                  </a:txBody>
                  <a:tcPr marL="32212" marR="2684" marT="2684" marB="0" anchor="ctr">
                    <a:lnB w="6350" cap="flat" cmpd="sng" algn="ctr">
                      <a:solidFill>
                        <a:srgbClr val="966E32"/>
                      </a:solidFill>
                      <a:prstDash val="solid"/>
                      <a:round/>
                      <a:headEnd type="none" w="med" len="med"/>
                      <a:tailEnd type="none" w="med" len="med"/>
                    </a:lnB>
                    <a:noFill/>
                  </a:tcPr>
                </a:tc>
                <a:tc hMerge="1">
                  <a:txBody>
                    <a:bodyPr/>
                    <a:lstStyle/>
                    <a:p>
                      <a:pPr algn="l" fontAlgn="ctr"/>
                      <a:endParaRPr lang="en-SG" sz="1200" b="0" i="0" u="none" strike="noStrike" dirty="0">
                        <a:solidFill>
                          <a:srgbClr val="404040"/>
                        </a:solidFill>
                        <a:effectLst/>
                        <a:latin typeface="Gill Sans MT Std Medium" panose="020B0602020104020203" pitchFamily="34" charset="0"/>
                      </a:endParaRPr>
                    </a:p>
                  </a:txBody>
                  <a:tcPr marL="45720" marR="3810" marT="3810" marB="0" anchor="ctr">
                    <a:lnB w="6350" cap="flat" cmpd="sng" algn="ctr">
                      <a:solidFill>
                        <a:srgbClr val="966E32"/>
                      </a:solidFill>
                      <a:prstDash val="solid"/>
                      <a:round/>
                      <a:headEnd type="none" w="med" len="med"/>
                      <a:tailEnd type="none" w="med" len="med"/>
                    </a:lnB>
                    <a:noFill/>
                  </a:tcPr>
                </a:tc>
                <a:tc>
                  <a:txBody>
                    <a:bodyPr/>
                    <a:lstStyle/>
                    <a:p>
                      <a:pPr algn="ctr" fontAlgn="ctr"/>
                      <a:r>
                        <a:rPr lang="en-SG" sz="1100" b="0" i="0" u="none" strike="noStrike" dirty="0">
                          <a:solidFill>
                            <a:srgbClr val="404040"/>
                          </a:solidFill>
                          <a:effectLst/>
                          <a:latin typeface="Gill Sans Std Light" panose="020B0302020104020203" pitchFamily="34" charset="0"/>
                        </a:rPr>
                        <a:t>Overall Rank</a:t>
                      </a:r>
                    </a:p>
                  </a:txBody>
                  <a:tcPr marL="3634" marR="3634" marT="3634" marB="0" anchor="ctr">
                    <a:lnB w="6350" cap="flat" cmpd="sng" algn="ctr">
                      <a:solidFill>
                        <a:srgbClr val="966E32"/>
                      </a:solidFill>
                      <a:prstDash val="solid"/>
                      <a:round/>
                      <a:headEnd type="none" w="med" len="med"/>
                      <a:tailEnd type="none" w="med" len="med"/>
                    </a:lnB>
                    <a:noFill/>
                  </a:tcPr>
                </a:tc>
                <a:extLst>
                  <a:ext uri="{0D108BD9-81ED-4DB2-BD59-A6C34878D82A}">
                    <a16:rowId xmlns:a16="http://schemas.microsoft.com/office/drawing/2014/main" xmlns="" val="424446611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Ireland</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1</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92203624"/>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AB874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Austria</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AB874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2</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AB874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8541438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AB8743"/>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chemeClr val="tx1"/>
                          </a:solidFill>
                          <a:effectLst/>
                          <a:latin typeface="Gill Sans Std Light" panose="020B0302020104020203" pitchFamily="34" charset="0"/>
                        </a:rPr>
                        <a:t>Canada</a:t>
                      </a:r>
                      <a:endParaRPr lang="en-SG" sz="900" b="0" i="0" u="none" strike="noStrike" dirty="0">
                        <a:solidFill>
                          <a:schemeClr val="tx1"/>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AB8743"/>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3</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AB8743"/>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9266431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chemeClr val="tx1"/>
                          </a:solidFill>
                          <a:effectLst/>
                          <a:latin typeface="Gill Sans Std Light" panose="020B0302020104020203" pitchFamily="34" charset="0"/>
                        </a:rPr>
                        <a:t>E</a:t>
                      </a:r>
                      <a:r>
                        <a:rPr lang="en-SG" sz="900" b="0" i="0" u="none" strike="noStrike" dirty="0" err="1">
                          <a:solidFill>
                            <a:schemeClr val="tx1"/>
                          </a:solidFill>
                          <a:effectLst/>
                          <a:latin typeface="Gill Sans Std Light" panose="020B0302020104020203" pitchFamily="34" charset="0"/>
                        </a:rPr>
                        <a:t>stonia</a:t>
                      </a:r>
                      <a:endParaRPr lang="en-SG" sz="900" b="0" i="0" u="none" strike="noStrike" dirty="0">
                        <a:solidFill>
                          <a:schemeClr val="tx1"/>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4</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1454765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Japan</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5</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45587426"/>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France</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6</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9472390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chemeClr val="tx1"/>
                          </a:solidFill>
                          <a:effectLst/>
                          <a:latin typeface="Gill Sans Std Light" panose="020B0302020104020203" pitchFamily="34" charset="0"/>
                        </a:rPr>
                        <a:t>Australia</a:t>
                      </a:r>
                      <a:endParaRPr lang="en-SG" sz="900" b="0" i="0" u="none" strike="noStrike" dirty="0">
                        <a:solidFill>
                          <a:schemeClr val="tx1"/>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17</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7840992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United States</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18</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64188818"/>
                  </a:ext>
                </a:extLst>
              </a:tr>
              <a:tr h="222411">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Iceland</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fontAlgn="b"/>
                      <a:r>
                        <a:rPr lang="en-SG" sz="900" b="0" i="0" u="none" strike="noStrike" dirty="0">
                          <a:solidFill>
                            <a:srgbClr val="000000"/>
                          </a:solidFill>
                          <a:effectLst/>
                          <a:latin typeface="Gill Sans Std Light" panose="020B0302020104020203" pitchFamily="34" charset="0"/>
                        </a:rPr>
                        <a:t>19</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AB874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90780342"/>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South Korea</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fontAlgn="b"/>
                      <a:endParaRPr lang="en-SG" sz="1200" b="0" i="0" u="none" strike="noStrike" dirty="0">
                        <a:solidFill>
                          <a:srgbClr val="000000"/>
                        </a:solidFill>
                        <a:effectLst/>
                        <a:latin typeface="Gill Sans Std Light" panose="020B0302020104020203" pitchFamily="34" charset="0"/>
                      </a:endParaRPr>
                    </a:p>
                  </a:txBody>
                  <a:tcPr marL="9861" marR="9861" marT="9861"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AB8743"/>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54766157"/>
                  </a:ext>
                </a:extLst>
              </a:tr>
            </a:tbl>
          </a:graphicData>
        </a:graphic>
      </p:graphicFrame>
      <p:sp>
        <p:nvSpPr>
          <p:cNvPr id="172" name="Rectangle 171">
            <a:extLst>
              <a:ext uri="{FF2B5EF4-FFF2-40B4-BE49-F238E27FC236}">
                <a16:creationId xmlns:a16="http://schemas.microsoft.com/office/drawing/2014/main" xmlns="" id="{2E5C4D97-E191-41B4-B38E-C7B3E84DC04C}"/>
              </a:ext>
            </a:extLst>
          </p:cNvPr>
          <p:cNvSpPr/>
          <p:nvPr/>
        </p:nvSpPr>
        <p:spPr>
          <a:xfrm>
            <a:off x="8125312" y="2288205"/>
            <a:ext cx="566208" cy="2144831"/>
          </a:xfrm>
          <a:prstGeom prst="rect">
            <a:avLst/>
          </a:prstGeom>
          <a:solidFill>
            <a:srgbClr val="FAF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2" name="Rectangle 81">
            <a:extLst>
              <a:ext uri="{FF2B5EF4-FFF2-40B4-BE49-F238E27FC236}">
                <a16:creationId xmlns:a16="http://schemas.microsoft.com/office/drawing/2014/main" xmlns="" id="{F95344F1-BC3A-4C80-8B6B-12E9A1E021DD}"/>
              </a:ext>
            </a:extLst>
          </p:cNvPr>
          <p:cNvSpPr/>
          <p:nvPr/>
        </p:nvSpPr>
        <p:spPr>
          <a:xfrm>
            <a:off x="8129898" y="3581115"/>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3" name="Rectangle 82">
            <a:extLst>
              <a:ext uri="{FF2B5EF4-FFF2-40B4-BE49-F238E27FC236}">
                <a16:creationId xmlns:a16="http://schemas.microsoft.com/office/drawing/2014/main" xmlns="" id="{FAA22AB7-3366-4EB4-9A73-5B1F681C001D}"/>
              </a:ext>
            </a:extLst>
          </p:cNvPr>
          <p:cNvSpPr/>
          <p:nvPr/>
        </p:nvSpPr>
        <p:spPr>
          <a:xfrm>
            <a:off x="8128197" y="3154110"/>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6" name="Rectangle 85">
            <a:extLst>
              <a:ext uri="{FF2B5EF4-FFF2-40B4-BE49-F238E27FC236}">
                <a16:creationId xmlns:a16="http://schemas.microsoft.com/office/drawing/2014/main" xmlns="" id="{87F256AB-F9D0-497E-942C-91538BB67D5B}"/>
              </a:ext>
            </a:extLst>
          </p:cNvPr>
          <p:cNvSpPr/>
          <p:nvPr/>
        </p:nvSpPr>
        <p:spPr>
          <a:xfrm>
            <a:off x="8125192" y="3794613"/>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4" name="Rectangle 83">
            <a:extLst>
              <a:ext uri="{FF2B5EF4-FFF2-40B4-BE49-F238E27FC236}">
                <a16:creationId xmlns:a16="http://schemas.microsoft.com/office/drawing/2014/main" xmlns="" id="{8E772E21-0D77-43F7-AE2B-1357594F5D40}"/>
              </a:ext>
            </a:extLst>
          </p:cNvPr>
          <p:cNvSpPr/>
          <p:nvPr/>
        </p:nvSpPr>
        <p:spPr>
          <a:xfrm>
            <a:off x="8126596" y="3366690"/>
            <a:ext cx="562700"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1" name="Rectangle 80">
            <a:extLst>
              <a:ext uri="{FF2B5EF4-FFF2-40B4-BE49-F238E27FC236}">
                <a16:creationId xmlns:a16="http://schemas.microsoft.com/office/drawing/2014/main" xmlns="" id="{D574A9FC-2818-4DF0-AB15-86C617458B3E}"/>
              </a:ext>
            </a:extLst>
          </p:cNvPr>
          <p:cNvSpPr/>
          <p:nvPr/>
        </p:nvSpPr>
        <p:spPr>
          <a:xfrm>
            <a:off x="8134061" y="4223130"/>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0" name="Rectangle 79">
            <a:extLst>
              <a:ext uri="{FF2B5EF4-FFF2-40B4-BE49-F238E27FC236}">
                <a16:creationId xmlns:a16="http://schemas.microsoft.com/office/drawing/2014/main" xmlns="" id="{4DCA4D8E-9E35-495E-BB3A-F33E5939FB76}"/>
              </a:ext>
            </a:extLst>
          </p:cNvPr>
          <p:cNvSpPr/>
          <p:nvPr/>
        </p:nvSpPr>
        <p:spPr>
          <a:xfrm>
            <a:off x="8128494" y="2938758"/>
            <a:ext cx="559398" cy="208932"/>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aphicFrame>
        <p:nvGraphicFramePr>
          <p:cNvPr id="173" name="Table 8">
            <a:extLst>
              <a:ext uri="{FF2B5EF4-FFF2-40B4-BE49-F238E27FC236}">
                <a16:creationId xmlns:a16="http://schemas.microsoft.com/office/drawing/2014/main" xmlns="" id="{0006683F-A631-4A0A-8666-659C7A4E097B}"/>
              </a:ext>
            </a:extLst>
          </p:cNvPr>
          <p:cNvGraphicFramePr>
            <a:graphicFrameLocks noGrp="1"/>
          </p:cNvGraphicFramePr>
          <p:nvPr>
            <p:extLst>
              <p:ext uri="{D42A27DB-BD31-4B8C-83A1-F6EECF244321}">
                <p14:modId xmlns:p14="http://schemas.microsoft.com/office/powerpoint/2010/main" val="2103225563"/>
              </p:ext>
            </p:extLst>
          </p:nvPr>
        </p:nvGraphicFramePr>
        <p:xfrm>
          <a:off x="6471855" y="1942987"/>
          <a:ext cx="2241515" cy="2490429"/>
        </p:xfrm>
        <a:graphic>
          <a:graphicData uri="http://schemas.openxmlformats.org/drawingml/2006/table">
            <a:tbl>
              <a:tblPr firstRow="1" bandRow="1">
                <a:tableStyleId>{5C22544A-7EE6-4342-B048-85BDC9FD1C3A}</a:tableStyleId>
              </a:tblPr>
              <a:tblGrid>
                <a:gridCol w="447347">
                  <a:extLst>
                    <a:ext uri="{9D8B030D-6E8A-4147-A177-3AD203B41FA5}">
                      <a16:colId xmlns:a16="http://schemas.microsoft.com/office/drawing/2014/main" xmlns="" val="2403941034"/>
                    </a:ext>
                  </a:extLst>
                </a:gridCol>
                <a:gridCol w="1121436">
                  <a:extLst>
                    <a:ext uri="{9D8B030D-6E8A-4147-A177-3AD203B41FA5}">
                      <a16:colId xmlns:a16="http://schemas.microsoft.com/office/drawing/2014/main" xmlns="" val="3068783623"/>
                    </a:ext>
                  </a:extLst>
                </a:gridCol>
                <a:gridCol w="672732">
                  <a:extLst>
                    <a:ext uri="{9D8B030D-6E8A-4147-A177-3AD203B41FA5}">
                      <a16:colId xmlns:a16="http://schemas.microsoft.com/office/drawing/2014/main" xmlns="" val="1375252717"/>
                    </a:ext>
                  </a:extLst>
                </a:gridCol>
              </a:tblGrid>
              <a:tr h="352889">
                <a:tc gridSpan="2">
                  <a:txBody>
                    <a:bodyPr/>
                    <a:lstStyle/>
                    <a:p>
                      <a:pPr algn="l" fontAlgn="ctr"/>
                      <a:r>
                        <a:rPr lang="en-SG" sz="1100" b="0" i="0" u="none" strike="noStrike" dirty="0">
                          <a:solidFill>
                            <a:srgbClr val="966E32"/>
                          </a:solidFill>
                          <a:effectLst/>
                          <a:latin typeface="Gill Sans MT Std Medium" panose="020B0602020104020203" pitchFamily="34" charset="0"/>
                        </a:rPr>
                        <a:t>Country</a:t>
                      </a:r>
                    </a:p>
                  </a:txBody>
                  <a:tcPr marL="32212" marR="2684" marT="2684" marB="0" anchor="ctr">
                    <a:lnB w="6350" cap="flat" cmpd="sng" algn="ctr">
                      <a:solidFill>
                        <a:srgbClr val="966E32"/>
                      </a:solidFill>
                      <a:prstDash val="solid"/>
                      <a:round/>
                      <a:headEnd type="none" w="med" len="med"/>
                      <a:tailEnd type="none" w="med" len="med"/>
                    </a:lnB>
                    <a:noFill/>
                  </a:tcPr>
                </a:tc>
                <a:tc hMerge="1">
                  <a:txBody>
                    <a:bodyPr/>
                    <a:lstStyle/>
                    <a:p>
                      <a:pPr algn="l" fontAlgn="ctr"/>
                      <a:endParaRPr lang="en-SG" sz="1200" b="0" i="0" u="none" strike="noStrike" dirty="0">
                        <a:solidFill>
                          <a:srgbClr val="404040"/>
                        </a:solidFill>
                        <a:effectLst/>
                        <a:latin typeface="Gill Sans MT Std Medium" panose="020B0602020104020203" pitchFamily="34" charset="0"/>
                      </a:endParaRPr>
                    </a:p>
                  </a:txBody>
                  <a:tcPr marL="45720" marR="3810" marT="3810" marB="0" anchor="ctr">
                    <a:lnB w="6350" cap="flat" cmpd="sng" algn="ctr">
                      <a:solidFill>
                        <a:srgbClr val="966E32"/>
                      </a:solidFill>
                      <a:prstDash val="solid"/>
                      <a:round/>
                      <a:headEnd type="none" w="med" len="med"/>
                      <a:tailEnd type="none" w="med" len="med"/>
                    </a:lnB>
                    <a:noFill/>
                  </a:tcPr>
                </a:tc>
                <a:tc>
                  <a:txBody>
                    <a:bodyPr/>
                    <a:lstStyle/>
                    <a:p>
                      <a:pPr algn="ctr" fontAlgn="ctr"/>
                      <a:r>
                        <a:rPr lang="en-SG" sz="1100" b="0" i="0" u="none" strike="noStrike" dirty="0">
                          <a:solidFill>
                            <a:srgbClr val="404040"/>
                          </a:solidFill>
                          <a:effectLst/>
                          <a:latin typeface="Gill Sans Std Light" panose="020B0302020104020203" pitchFamily="34" charset="0"/>
                        </a:rPr>
                        <a:t>Overall Rank</a:t>
                      </a:r>
                    </a:p>
                  </a:txBody>
                  <a:tcPr marL="3634" marR="3634" marT="3634" marB="0" anchor="ctr">
                    <a:lnB w="6350" cap="flat" cmpd="sng" algn="ctr">
                      <a:solidFill>
                        <a:srgbClr val="966E32"/>
                      </a:solidFill>
                      <a:prstDash val="solid"/>
                      <a:round/>
                      <a:headEnd type="none" w="med" len="med"/>
                      <a:tailEnd type="none" w="med" len="med"/>
                    </a:lnB>
                    <a:noFill/>
                  </a:tcPr>
                </a:tc>
                <a:extLst>
                  <a:ext uri="{0D108BD9-81ED-4DB2-BD59-A6C34878D82A}">
                    <a16:rowId xmlns:a16="http://schemas.microsoft.com/office/drawing/2014/main" xmlns="" val="424446611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0" i="0" u="none" strike="noStrike" dirty="0">
                          <a:solidFill>
                            <a:schemeClr val="tx1"/>
                          </a:solidFill>
                          <a:effectLst/>
                          <a:latin typeface="Gill Sans Std Light" panose="020B0302020104020203" pitchFamily="34" charset="0"/>
                        </a:rPr>
                        <a:t>B</a:t>
                      </a:r>
                      <a:r>
                        <a:rPr lang="en-SG" sz="900" b="0" i="0" u="none" strike="noStrike" dirty="0" err="1">
                          <a:solidFill>
                            <a:schemeClr val="tx1"/>
                          </a:solidFill>
                          <a:effectLst/>
                          <a:latin typeface="Gill Sans Std Light" panose="020B0302020104020203" pitchFamily="34" charset="0"/>
                        </a:rPr>
                        <a:t>elgium</a:t>
                      </a:r>
                      <a:endParaRPr lang="en-SG" sz="900" b="0" i="0" u="none" strike="noStrike" dirty="0">
                        <a:solidFill>
                          <a:schemeClr val="tx1"/>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1</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92203624"/>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Czech Republic</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22</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8541438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Slovenia</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23</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9266431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United Arab Emirates</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4</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1454765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Portugal</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5</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87770635"/>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b" latinLnBrk="0" hangingPunct="1">
                        <a:lnSpc>
                          <a:spcPct val="100000"/>
                        </a:lnSpc>
                        <a:spcBef>
                          <a:spcPts val="0"/>
                        </a:spcBef>
                        <a:spcAft>
                          <a:spcPts val="0"/>
                        </a:spcAft>
                        <a:buClrTx/>
                        <a:buSzTx/>
                        <a:buFontTx/>
                        <a:buNone/>
                        <a:tabLst/>
                        <a:defRPr/>
                      </a:pPr>
                      <a:r>
                        <a:rPr lang="en-SG" sz="900" b="0" i="0" u="none" strike="noStrike" dirty="0">
                          <a:solidFill>
                            <a:schemeClr val="tx1"/>
                          </a:solidFill>
                          <a:effectLst/>
                          <a:latin typeface="Gill Sans Std Light" panose="020B0302020104020203" pitchFamily="34" charset="0"/>
                        </a:rPr>
                        <a:t>Spain</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6</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2115021"/>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Israel</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7</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20864252"/>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Poland</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28</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64188818"/>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Lithuania</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29</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8080385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SG" sz="900" b="0" i="0" u="none" strike="noStrike" dirty="0">
                          <a:solidFill>
                            <a:schemeClr val="tx1"/>
                          </a:solidFill>
                          <a:effectLst/>
                          <a:latin typeface="Gill Sans Std Light" panose="020B0302020104020203" pitchFamily="34" charset="0"/>
                        </a:rPr>
                        <a:t>Latvia</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rgbClr val="000000"/>
                          </a:solidFill>
                          <a:effectLst/>
                          <a:latin typeface="Gill Sans Std Light" panose="020B0302020104020203" pitchFamily="34" charset="0"/>
                        </a:rPr>
                        <a:t>30</a:t>
                      </a:r>
                      <a:endParaRPr lang="en-SG" sz="900" b="0" i="0" u="none" strike="noStrike" dirty="0">
                        <a:solidFill>
                          <a:srgbClr val="000000"/>
                        </a:solidFill>
                        <a:effectLst/>
                        <a:latin typeface="Gill Sans Std Light" panose="020B0302020104020203" pitchFamily="34" charset="0"/>
                      </a:endParaRP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22959389"/>
                  </a:ext>
                </a:extLst>
              </a:tr>
            </a:tbl>
          </a:graphicData>
        </a:graphic>
      </p:graphicFrame>
      <p:sp>
        <p:nvSpPr>
          <p:cNvPr id="174" name="Rectangle 173">
            <a:extLst>
              <a:ext uri="{FF2B5EF4-FFF2-40B4-BE49-F238E27FC236}">
                <a16:creationId xmlns:a16="http://schemas.microsoft.com/office/drawing/2014/main" xmlns="" id="{ADA08AC2-DE00-41B7-9B97-342F936D78FA}"/>
              </a:ext>
            </a:extLst>
          </p:cNvPr>
          <p:cNvSpPr/>
          <p:nvPr/>
        </p:nvSpPr>
        <p:spPr>
          <a:xfrm>
            <a:off x="2623797" y="2288205"/>
            <a:ext cx="566208" cy="2152476"/>
          </a:xfrm>
          <a:prstGeom prst="rect">
            <a:avLst/>
          </a:prstGeom>
          <a:solidFill>
            <a:srgbClr val="FAF0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4" name="Rectangle 3">
            <a:extLst>
              <a:ext uri="{FF2B5EF4-FFF2-40B4-BE49-F238E27FC236}">
                <a16:creationId xmlns:a16="http://schemas.microsoft.com/office/drawing/2014/main" xmlns="" id="{C3FD66B6-EF02-4301-AFFD-B274C3D1FBA2}"/>
              </a:ext>
            </a:extLst>
          </p:cNvPr>
          <p:cNvSpPr/>
          <p:nvPr/>
        </p:nvSpPr>
        <p:spPr>
          <a:xfrm>
            <a:off x="2622214" y="2938589"/>
            <a:ext cx="572877" cy="212373"/>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85" name="Rectangle 84">
            <a:extLst>
              <a:ext uri="{FF2B5EF4-FFF2-40B4-BE49-F238E27FC236}">
                <a16:creationId xmlns:a16="http://schemas.microsoft.com/office/drawing/2014/main" xmlns="" id="{D27C2CA8-F534-4D3B-9041-77812123A6E3}"/>
              </a:ext>
            </a:extLst>
          </p:cNvPr>
          <p:cNvSpPr/>
          <p:nvPr/>
        </p:nvSpPr>
        <p:spPr>
          <a:xfrm>
            <a:off x="2617128" y="4220662"/>
            <a:ext cx="572877" cy="212373"/>
          </a:xfrm>
          <a:prstGeom prst="rect">
            <a:avLst/>
          </a:prstGeom>
          <a:solidFill>
            <a:srgbClr val="B1D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pic>
        <p:nvPicPr>
          <p:cNvPr id="176" name="Graphic 175">
            <a:extLst>
              <a:ext uri="{FF2B5EF4-FFF2-40B4-BE49-F238E27FC236}">
                <a16:creationId xmlns:a16="http://schemas.microsoft.com/office/drawing/2014/main" xmlns="" id="{6726C3AA-4FD6-4960-88FD-F1F6446619C8}"/>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596944" y="2740835"/>
            <a:ext cx="287061" cy="172236"/>
          </a:xfrm>
          <a:prstGeom prst="rect">
            <a:avLst/>
          </a:prstGeom>
        </p:spPr>
      </p:pic>
      <p:pic>
        <p:nvPicPr>
          <p:cNvPr id="179" name="Graphic 178">
            <a:extLst>
              <a:ext uri="{FF2B5EF4-FFF2-40B4-BE49-F238E27FC236}">
                <a16:creationId xmlns:a16="http://schemas.microsoft.com/office/drawing/2014/main" xmlns="" id="{00CF7C83-E30F-41E0-A20B-79FFAA7A4662}"/>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824351" y="2313212"/>
            <a:ext cx="284906" cy="170944"/>
          </a:xfrm>
          <a:prstGeom prst="rect">
            <a:avLst/>
          </a:prstGeom>
        </p:spPr>
      </p:pic>
      <p:pic>
        <p:nvPicPr>
          <p:cNvPr id="180" name="Graphic 179">
            <a:extLst>
              <a:ext uri="{FF2B5EF4-FFF2-40B4-BE49-F238E27FC236}">
                <a16:creationId xmlns:a16="http://schemas.microsoft.com/office/drawing/2014/main" xmlns="" id="{A10EEB24-E2AB-4392-8216-0A126F6159A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3824937" y="2740475"/>
            <a:ext cx="284906" cy="170944"/>
          </a:xfrm>
          <a:prstGeom prst="rect">
            <a:avLst/>
          </a:prstGeom>
        </p:spPr>
      </p:pic>
      <p:pic>
        <p:nvPicPr>
          <p:cNvPr id="181" name="Graphic 180">
            <a:extLst>
              <a:ext uri="{FF2B5EF4-FFF2-40B4-BE49-F238E27FC236}">
                <a16:creationId xmlns:a16="http://schemas.microsoft.com/office/drawing/2014/main" xmlns="" id="{A795130F-6FA8-4F0F-BACD-D9A1F321F0D1}"/>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1084848" y="2312398"/>
            <a:ext cx="287064" cy="172238"/>
          </a:xfrm>
          <a:prstGeom prst="rect">
            <a:avLst/>
          </a:prstGeom>
        </p:spPr>
      </p:pic>
      <p:pic>
        <p:nvPicPr>
          <p:cNvPr id="182" name="Graphic 181">
            <a:extLst>
              <a:ext uri="{FF2B5EF4-FFF2-40B4-BE49-F238E27FC236}">
                <a16:creationId xmlns:a16="http://schemas.microsoft.com/office/drawing/2014/main" xmlns="" id="{6D381B54-F4AD-462C-AC26-8541B8BB0159}"/>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1084261" y="2528725"/>
            <a:ext cx="287067" cy="172241"/>
          </a:xfrm>
          <a:prstGeom prst="rect">
            <a:avLst/>
          </a:prstGeom>
        </p:spPr>
      </p:pic>
      <p:pic>
        <p:nvPicPr>
          <p:cNvPr id="183" name="Graphic 182">
            <a:extLst>
              <a:ext uri="{FF2B5EF4-FFF2-40B4-BE49-F238E27FC236}">
                <a16:creationId xmlns:a16="http://schemas.microsoft.com/office/drawing/2014/main" xmlns="" id="{6F46CBC5-4A0A-460A-988F-7276A51C0CA1}"/>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1084847" y="2743783"/>
            <a:ext cx="287067" cy="172241"/>
          </a:xfrm>
          <a:prstGeom prst="rect">
            <a:avLst/>
          </a:prstGeom>
        </p:spPr>
      </p:pic>
      <p:sp>
        <p:nvSpPr>
          <p:cNvPr id="74" name="Rectangle 73">
            <a:extLst>
              <a:ext uri="{FF2B5EF4-FFF2-40B4-BE49-F238E27FC236}">
                <a16:creationId xmlns:a16="http://schemas.microsoft.com/office/drawing/2014/main" xmlns="" id="{C3D015F7-5AFF-4751-BB97-B073BE48E3EE}"/>
              </a:ext>
            </a:extLst>
          </p:cNvPr>
          <p:cNvSpPr/>
          <p:nvPr/>
        </p:nvSpPr>
        <p:spPr>
          <a:xfrm>
            <a:off x="2618710" y="3152891"/>
            <a:ext cx="572877" cy="208932"/>
          </a:xfrm>
          <a:prstGeom prst="rect">
            <a:avLst/>
          </a:prstGeom>
          <a:solidFill>
            <a:srgbClr val="FCB8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pic>
        <p:nvPicPr>
          <p:cNvPr id="184" name="Graphic 183">
            <a:extLst>
              <a:ext uri="{FF2B5EF4-FFF2-40B4-BE49-F238E27FC236}">
                <a16:creationId xmlns:a16="http://schemas.microsoft.com/office/drawing/2014/main" xmlns="" id="{F3BD1932-007D-4D39-9539-BEE24F58EAFD}"/>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1084847" y="2956098"/>
            <a:ext cx="287067" cy="172241"/>
          </a:xfrm>
          <a:prstGeom prst="rect">
            <a:avLst/>
          </a:prstGeom>
        </p:spPr>
      </p:pic>
      <p:graphicFrame>
        <p:nvGraphicFramePr>
          <p:cNvPr id="175" name="Table 8">
            <a:extLst>
              <a:ext uri="{FF2B5EF4-FFF2-40B4-BE49-F238E27FC236}">
                <a16:creationId xmlns:a16="http://schemas.microsoft.com/office/drawing/2014/main" xmlns="" id="{90D45AF8-C99B-4AD1-BFAB-8467B09DA10C}"/>
              </a:ext>
            </a:extLst>
          </p:cNvPr>
          <p:cNvGraphicFramePr>
            <a:graphicFrameLocks noGrp="1"/>
          </p:cNvGraphicFramePr>
          <p:nvPr>
            <p:extLst>
              <p:ext uri="{D42A27DB-BD31-4B8C-83A1-F6EECF244321}">
                <p14:modId xmlns:p14="http://schemas.microsoft.com/office/powerpoint/2010/main" val="3204064324"/>
              </p:ext>
            </p:extLst>
          </p:nvPr>
        </p:nvGraphicFramePr>
        <p:xfrm>
          <a:off x="985190" y="1942987"/>
          <a:ext cx="2241515" cy="2490429"/>
        </p:xfrm>
        <a:graphic>
          <a:graphicData uri="http://schemas.openxmlformats.org/drawingml/2006/table">
            <a:tbl>
              <a:tblPr firstRow="1" bandRow="1">
                <a:tableStyleId>{5C22544A-7EE6-4342-B048-85BDC9FD1C3A}</a:tableStyleId>
              </a:tblPr>
              <a:tblGrid>
                <a:gridCol w="447347">
                  <a:extLst>
                    <a:ext uri="{9D8B030D-6E8A-4147-A177-3AD203B41FA5}">
                      <a16:colId xmlns:a16="http://schemas.microsoft.com/office/drawing/2014/main" xmlns="" val="2403941034"/>
                    </a:ext>
                  </a:extLst>
                </a:gridCol>
                <a:gridCol w="1121436">
                  <a:extLst>
                    <a:ext uri="{9D8B030D-6E8A-4147-A177-3AD203B41FA5}">
                      <a16:colId xmlns:a16="http://schemas.microsoft.com/office/drawing/2014/main" xmlns="" val="3068783623"/>
                    </a:ext>
                  </a:extLst>
                </a:gridCol>
                <a:gridCol w="672732">
                  <a:extLst>
                    <a:ext uri="{9D8B030D-6E8A-4147-A177-3AD203B41FA5}">
                      <a16:colId xmlns:a16="http://schemas.microsoft.com/office/drawing/2014/main" xmlns="" val="1375252717"/>
                    </a:ext>
                  </a:extLst>
                </a:gridCol>
              </a:tblGrid>
              <a:tr h="352889">
                <a:tc gridSpan="2">
                  <a:txBody>
                    <a:bodyPr/>
                    <a:lstStyle/>
                    <a:p>
                      <a:pPr algn="l" fontAlgn="ctr"/>
                      <a:r>
                        <a:rPr lang="en-SG" sz="1100" b="0" i="0" u="none" strike="noStrike" dirty="0">
                          <a:solidFill>
                            <a:srgbClr val="966E32"/>
                          </a:solidFill>
                          <a:effectLst/>
                          <a:latin typeface="Gill Sans MT Std Medium" panose="020B0602020104020203" pitchFamily="34" charset="0"/>
                        </a:rPr>
                        <a:t>Country</a:t>
                      </a:r>
                    </a:p>
                  </a:txBody>
                  <a:tcPr marL="32212" marR="2684" marT="2684" marB="0" anchor="ctr">
                    <a:lnB w="6350" cap="flat" cmpd="sng" algn="ctr">
                      <a:solidFill>
                        <a:srgbClr val="966E32"/>
                      </a:solidFill>
                      <a:prstDash val="solid"/>
                      <a:round/>
                      <a:headEnd type="none" w="med" len="med"/>
                      <a:tailEnd type="none" w="med" len="med"/>
                    </a:lnB>
                    <a:noFill/>
                  </a:tcPr>
                </a:tc>
                <a:tc hMerge="1">
                  <a:txBody>
                    <a:bodyPr/>
                    <a:lstStyle/>
                    <a:p>
                      <a:pPr algn="l" fontAlgn="ctr"/>
                      <a:endParaRPr lang="en-SG" sz="1200" b="0" i="0" u="none" strike="noStrike" dirty="0">
                        <a:solidFill>
                          <a:srgbClr val="404040"/>
                        </a:solidFill>
                        <a:effectLst/>
                        <a:latin typeface="Gill Sans MT Std Medium" panose="020B0602020104020203" pitchFamily="34" charset="0"/>
                      </a:endParaRPr>
                    </a:p>
                  </a:txBody>
                  <a:tcPr marL="45720" marR="3810" marT="3810" marB="0" anchor="ctr">
                    <a:lnB w="6350" cap="flat" cmpd="sng" algn="ctr">
                      <a:solidFill>
                        <a:srgbClr val="966E32"/>
                      </a:solidFill>
                      <a:prstDash val="solid"/>
                      <a:round/>
                      <a:headEnd type="none" w="med" len="med"/>
                      <a:tailEnd type="none" w="med" len="med"/>
                    </a:lnB>
                    <a:noFill/>
                  </a:tcPr>
                </a:tc>
                <a:tc>
                  <a:txBody>
                    <a:bodyPr/>
                    <a:lstStyle/>
                    <a:p>
                      <a:pPr algn="ctr" fontAlgn="ctr"/>
                      <a:r>
                        <a:rPr lang="en-SG" sz="1100" b="0" i="0" u="none" strike="noStrike" dirty="0">
                          <a:solidFill>
                            <a:srgbClr val="404040"/>
                          </a:solidFill>
                          <a:effectLst/>
                          <a:latin typeface="Gill Sans Std Light" panose="020B0302020104020203" pitchFamily="34" charset="0"/>
                        </a:rPr>
                        <a:t>Overall Rank</a:t>
                      </a:r>
                    </a:p>
                  </a:txBody>
                  <a:tcPr marL="3634" marR="3634" marT="3634" marB="0" anchor="ctr">
                    <a:lnB w="6350" cap="flat" cmpd="sng" algn="ctr">
                      <a:solidFill>
                        <a:srgbClr val="966E32"/>
                      </a:solidFill>
                      <a:prstDash val="solid"/>
                      <a:round/>
                      <a:headEnd type="none" w="med" len="med"/>
                      <a:tailEnd type="none" w="med" len="med"/>
                    </a:lnB>
                    <a:noFill/>
                  </a:tcPr>
                </a:tc>
                <a:extLst>
                  <a:ext uri="{0D108BD9-81ED-4DB2-BD59-A6C34878D82A}">
                    <a16:rowId xmlns:a16="http://schemas.microsoft.com/office/drawing/2014/main" xmlns="" val="424446611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Finland</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1</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192203624"/>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Switzerland</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2</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8541438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Singapore</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3</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89266431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dirty="0">
                          <a:solidFill>
                            <a:schemeClr val="tx1"/>
                          </a:solidFill>
                          <a:latin typeface="Gill Sans Std Light" panose="020B0302020104020203" pitchFamily="34" charset="0"/>
                        </a:rPr>
                        <a:t>Denmark</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4</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414547657"/>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SG" sz="900" b="0" i="0" u="none" strike="noStrike" dirty="0">
                          <a:solidFill>
                            <a:schemeClr val="tx1"/>
                          </a:solidFill>
                          <a:effectLst/>
                          <a:latin typeface="Gill Sans Std Light" panose="020B0302020104020203" pitchFamily="34" charset="0"/>
                        </a:rPr>
                        <a:t>Netherlands</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5</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87770635"/>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Norway</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6</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22486499"/>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Sweden</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7</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7840992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Germany</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8</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64188818"/>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SG" sz="900" b="0" i="0" u="none" strike="noStrike" dirty="0">
                          <a:solidFill>
                            <a:schemeClr val="tx1"/>
                          </a:solidFill>
                          <a:effectLst/>
                          <a:latin typeface="Gill Sans Std Light" panose="020B0302020104020203" pitchFamily="34" charset="0"/>
                        </a:rPr>
                        <a:t>New Zealand</a:t>
                      </a:r>
                      <a:endParaRPr lang="en-SG" sz="900" dirty="0">
                        <a:solidFill>
                          <a:schemeClr val="tx1"/>
                        </a:solidFill>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9</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80803853"/>
                  </a:ext>
                </a:extLst>
              </a:tr>
              <a:tr h="213754">
                <a:tc>
                  <a:txBody>
                    <a:bodyPr/>
                    <a:lstStyle/>
                    <a:p>
                      <a:pPr algn="l" fontAlgn="b"/>
                      <a:endParaRPr lang="en-SG" sz="800" b="0" i="0" u="none" strike="noStrike" dirty="0">
                        <a:solidFill>
                          <a:srgbClr val="000000"/>
                        </a:solidFill>
                        <a:effectLst/>
                        <a:latin typeface="Gill Sans Std Light" panose="020B0302020104020203" pitchFamily="34" charset="0"/>
                      </a:endParaRP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SG" sz="900" b="0" i="0" u="none" strike="noStrike" dirty="0">
                          <a:solidFill>
                            <a:schemeClr val="tx1"/>
                          </a:solidFill>
                          <a:effectLst/>
                          <a:latin typeface="Gill Sans Std Light" panose="020B0302020104020203" pitchFamily="34" charset="0"/>
                        </a:rPr>
                        <a:t>United Kingdom</a:t>
                      </a:r>
                    </a:p>
                  </a:txBody>
                  <a:tcPr marL="43609"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SG" sz="900" b="0" i="0" u="none" strike="noStrike" dirty="0">
                          <a:solidFill>
                            <a:srgbClr val="000000"/>
                          </a:solidFill>
                          <a:effectLst/>
                          <a:latin typeface="Gill Sans Std Light" panose="020B0302020104020203" pitchFamily="34" charset="0"/>
                        </a:rPr>
                        <a:t>10</a:t>
                      </a:r>
                    </a:p>
                  </a:txBody>
                  <a:tcPr marL="7268" marR="7268" marT="7268"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966E32"/>
                      </a:solidFill>
                      <a:prstDash val="solid"/>
                      <a:round/>
                      <a:headEnd type="none" w="med" len="med"/>
                      <a:tailEnd type="none" w="med" len="med"/>
                    </a:lnT>
                    <a:lnB w="6350" cap="flat" cmpd="sng" algn="ctr">
                      <a:solidFill>
                        <a:srgbClr val="966E3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05516273"/>
                  </a:ext>
                </a:extLst>
              </a:tr>
            </a:tbl>
          </a:graphicData>
        </a:graphic>
      </p:graphicFrame>
      <p:pic>
        <p:nvPicPr>
          <p:cNvPr id="185" name="Graphic 184">
            <a:extLst>
              <a:ext uri="{FF2B5EF4-FFF2-40B4-BE49-F238E27FC236}">
                <a16:creationId xmlns:a16="http://schemas.microsoft.com/office/drawing/2014/main" xmlns="" id="{42F92CDE-0991-4F39-AFA1-98F3F28B076B}"/>
              </a:ext>
            </a:extLst>
          </p:cNvPr>
          <p:cNvPicPr>
            <a:picLocks noChangeAspect="1"/>
          </p:cNvPicPr>
          <p:nvPr/>
        </p:nvPicPr>
        <p:blipFill>
          <a:blip r:embed="rId17">
            <a:extLst>
              <a:ext uri="{96DAC541-7B7A-43D3-8B79-37D633B846F1}">
                <asvg:svgBlip xmlns:asvg="http://schemas.microsoft.com/office/drawing/2016/SVG/main" xmlns="" r:embed="rId18"/>
              </a:ext>
            </a:extLst>
          </a:blip>
          <a:stretch>
            <a:fillRect/>
          </a:stretch>
        </p:blipFill>
        <p:spPr>
          <a:xfrm>
            <a:off x="1082961" y="3167918"/>
            <a:ext cx="287067" cy="172241"/>
          </a:xfrm>
          <a:prstGeom prst="rect">
            <a:avLst/>
          </a:prstGeom>
        </p:spPr>
      </p:pic>
      <p:pic>
        <p:nvPicPr>
          <p:cNvPr id="186" name="Graphic 185">
            <a:extLst>
              <a:ext uri="{FF2B5EF4-FFF2-40B4-BE49-F238E27FC236}">
                <a16:creationId xmlns:a16="http://schemas.microsoft.com/office/drawing/2014/main" xmlns="" id="{2D863A63-C1E2-45CC-9A1E-3A99D1D19E3D}"/>
              </a:ext>
            </a:extLst>
          </p:cNvPr>
          <p:cNvPicPr>
            <a:picLocks noChangeAspect="1"/>
          </p:cNvPicPr>
          <p:nvPr/>
        </p:nvPicPr>
        <p:blipFill>
          <a:blip r:embed="rId19">
            <a:extLst>
              <a:ext uri="{96DAC541-7B7A-43D3-8B79-37D633B846F1}">
                <asvg:svgBlip xmlns:asvg="http://schemas.microsoft.com/office/drawing/2016/SVG/main" xmlns="" r:embed="rId20"/>
              </a:ext>
            </a:extLst>
          </a:blip>
          <a:stretch>
            <a:fillRect/>
          </a:stretch>
        </p:blipFill>
        <p:spPr>
          <a:xfrm>
            <a:off x="1079691" y="3383217"/>
            <a:ext cx="289236" cy="173542"/>
          </a:xfrm>
          <a:prstGeom prst="rect">
            <a:avLst/>
          </a:prstGeom>
        </p:spPr>
      </p:pic>
      <p:pic>
        <p:nvPicPr>
          <p:cNvPr id="187" name="Graphic 186">
            <a:extLst>
              <a:ext uri="{FF2B5EF4-FFF2-40B4-BE49-F238E27FC236}">
                <a16:creationId xmlns:a16="http://schemas.microsoft.com/office/drawing/2014/main" xmlns="" id="{DB283471-D0D7-415B-9936-C5C0030D3BD1}"/>
              </a:ext>
            </a:extLst>
          </p:cNvPr>
          <p:cNvPicPr>
            <a:picLocks noChangeAspect="1"/>
          </p:cNvPicPr>
          <p:nvPr/>
        </p:nvPicPr>
        <p:blipFill>
          <a:blip r:embed="rId21">
            <a:extLst>
              <a:ext uri="{96DAC541-7B7A-43D3-8B79-37D633B846F1}">
                <asvg:svgBlip xmlns:asvg="http://schemas.microsoft.com/office/drawing/2016/SVG/main" xmlns="" r:embed="rId22"/>
              </a:ext>
            </a:extLst>
          </a:blip>
          <a:stretch>
            <a:fillRect/>
          </a:stretch>
        </p:blipFill>
        <p:spPr>
          <a:xfrm>
            <a:off x="1084261" y="3595121"/>
            <a:ext cx="289236" cy="173542"/>
          </a:xfrm>
          <a:prstGeom prst="rect">
            <a:avLst/>
          </a:prstGeom>
        </p:spPr>
      </p:pic>
      <p:pic>
        <p:nvPicPr>
          <p:cNvPr id="188" name="Graphic 187">
            <a:extLst>
              <a:ext uri="{FF2B5EF4-FFF2-40B4-BE49-F238E27FC236}">
                <a16:creationId xmlns:a16="http://schemas.microsoft.com/office/drawing/2014/main" xmlns="" id="{F8666AFB-0982-4FA7-A60A-A72E77550A81}"/>
              </a:ext>
            </a:extLst>
          </p:cNvPr>
          <p:cNvPicPr>
            <a:picLocks noChangeAspect="1"/>
          </p:cNvPicPr>
          <p:nvPr/>
        </p:nvPicPr>
        <p:blipFill>
          <a:blip r:embed="rId23">
            <a:extLst>
              <a:ext uri="{96DAC541-7B7A-43D3-8B79-37D633B846F1}">
                <asvg:svgBlip xmlns:asvg="http://schemas.microsoft.com/office/drawing/2016/SVG/main" xmlns="" r:embed="rId24"/>
              </a:ext>
            </a:extLst>
          </a:blip>
          <a:stretch>
            <a:fillRect/>
          </a:stretch>
        </p:blipFill>
        <p:spPr>
          <a:xfrm>
            <a:off x="1084848" y="3811949"/>
            <a:ext cx="287064" cy="172238"/>
          </a:xfrm>
          <a:prstGeom prst="rect">
            <a:avLst/>
          </a:prstGeom>
        </p:spPr>
      </p:pic>
      <p:pic>
        <p:nvPicPr>
          <p:cNvPr id="189" name="Graphic 188">
            <a:extLst>
              <a:ext uri="{FF2B5EF4-FFF2-40B4-BE49-F238E27FC236}">
                <a16:creationId xmlns:a16="http://schemas.microsoft.com/office/drawing/2014/main" xmlns="" id="{BBB74E31-8BE1-4A1A-AD10-C9B72A279273}"/>
              </a:ext>
            </a:extLst>
          </p:cNvPr>
          <p:cNvPicPr>
            <a:picLocks noChangeAspect="1"/>
          </p:cNvPicPr>
          <p:nvPr/>
        </p:nvPicPr>
        <p:blipFill>
          <a:blip r:embed="rId25">
            <a:extLst>
              <a:ext uri="{96DAC541-7B7A-43D3-8B79-37D633B846F1}">
                <asvg:svgBlip xmlns:asvg="http://schemas.microsoft.com/office/drawing/2016/SVG/main" xmlns="" r:embed="rId26"/>
              </a:ext>
            </a:extLst>
          </a:blip>
          <a:stretch>
            <a:fillRect/>
          </a:stretch>
        </p:blipFill>
        <p:spPr>
          <a:xfrm>
            <a:off x="1084848" y="4025108"/>
            <a:ext cx="287064" cy="172238"/>
          </a:xfrm>
          <a:prstGeom prst="rect">
            <a:avLst/>
          </a:prstGeom>
        </p:spPr>
      </p:pic>
      <p:pic>
        <p:nvPicPr>
          <p:cNvPr id="190" name="Graphic 189">
            <a:extLst>
              <a:ext uri="{FF2B5EF4-FFF2-40B4-BE49-F238E27FC236}">
                <a16:creationId xmlns:a16="http://schemas.microsoft.com/office/drawing/2014/main" xmlns="" id="{8F42AA85-C405-454A-BAC0-35D7A596FB5C}"/>
              </a:ext>
            </a:extLst>
          </p:cNvPr>
          <p:cNvPicPr>
            <a:picLocks noChangeAspect="1"/>
          </p:cNvPicPr>
          <p:nvPr/>
        </p:nvPicPr>
        <p:blipFill>
          <a:blip r:embed="rId27">
            <a:extLst>
              <a:ext uri="{96DAC541-7B7A-43D3-8B79-37D633B846F1}">
                <asvg:svgBlip xmlns:asvg="http://schemas.microsoft.com/office/drawing/2016/SVG/main" xmlns="" r:embed="rId28"/>
              </a:ext>
            </a:extLst>
          </a:blip>
          <a:stretch>
            <a:fillRect/>
          </a:stretch>
        </p:blipFill>
        <p:spPr>
          <a:xfrm>
            <a:off x="1084846" y="4238324"/>
            <a:ext cx="287064" cy="172238"/>
          </a:xfrm>
          <a:prstGeom prst="rect">
            <a:avLst/>
          </a:prstGeom>
        </p:spPr>
      </p:pic>
      <p:sp>
        <p:nvSpPr>
          <p:cNvPr id="191" name="Rectangle 190">
            <a:extLst>
              <a:ext uri="{FF2B5EF4-FFF2-40B4-BE49-F238E27FC236}">
                <a16:creationId xmlns:a16="http://schemas.microsoft.com/office/drawing/2014/main" xmlns="" id="{0FBFD62D-3E80-44C6-895A-8B8B8DCC204E}"/>
              </a:ext>
            </a:extLst>
          </p:cNvPr>
          <p:cNvSpPr/>
          <p:nvPr/>
        </p:nvSpPr>
        <p:spPr>
          <a:xfrm>
            <a:off x="1084261" y="2313452"/>
            <a:ext cx="287064" cy="169420"/>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192" name="Rectangle 191">
            <a:extLst>
              <a:ext uri="{FF2B5EF4-FFF2-40B4-BE49-F238E27FC236}">
                <a16:creationId xmlns:a16="http://schemas.microsoft.com/office/drawing/2014/main" xmlns="" id="{E13BE894-E2DB-49A8-AD67-00A2A279607D}"/>
              </a:ext>
            </a:extLst>
          </p:cNvPr>
          <p:cNvSpPr/>
          <p:nvPr/>
        </p:nvSpPr>
        <p:spPr>
          <a:xfrm>
            <a:off x="1084261" y="2745188"/>
            <a:ext cx="287064" cy="169420"/>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pic>
        <p:nvPicPr>
          <p:cNvPr id="194" name="Graphic 193">
            <a:extLst>
              <a:ext uri="{FF2B5EF4-FFF2-40B4-BE49-F238E27FC236}">
                <a16:creationId xmlns:a16="http://schemas.microsoft.com/office/drawing/2014/main" xmlns="" id="{6E4CE6E1-5028-4DD3-B87E-0E41ADB97368}"/>
              </a:ext>
            </a:extLst>
          </p:cNvPr>
          <p:cNvPicPr>
            <a:picLocks noChangeAspect="1"/>
          </p:cNvPicPr>
          <p:nvPr/>
        </p:nvPicPr>
        <p:blipFill>
          <a:blip r:embed="rId29">
            <a:extLst>
              <a:ext uri="{96DAC541-7B7A-43D3-8B79-37D633B846F1}">
                <asvg:svgBlip xmlns:asvg="http://schemas.microsoft.com/office/drawing/2016/SVG/main" xmlns="" r:embed="rId30"/>
              </a:ext>
            </a:extLst>
          </a:blip>
          <a:stretch>
            <a:fillRect/>
          </a:stretch>
        </p:blipFill>
        <p:spPr>
          <a:xfrm>
            <a:off x="3825397" y="2526096"/>
            <a:ext cx="284906" cy="170944"/>
          </a:xfrm>
          <a:prstGeom prst="rect">
            <a:avLst/>
          </a:prstGeom>
        </p:spPr>
      </p:pic>
      <p:pic>
        <p:nvPicPr>
          <p:cNvPr id="196" name="Graphic 195">
            <a:extLst>
              <a:ext uri="{FF2B5EF4-FFF2-40B4-BE49-F238E27FC236}">
                <a16:creationId xmlns:a16="http://schemas.microsoft.com/office/drawing/2014/main" xmlns="" id="{0FC78081-5429-4865-800D-0569AA13493F}"/>
              </a:ext>
            </a:extLst>
          </p:cNvPr>
          <p:cNvPicPr>
            <a:picLocks noChangeAspect="1"/>
          </p:cNvPicPr>
          <p:nvPr/>
        </p:nvPicPr>
        <p:blipFill>
          <a:blip r:embed="rId31">
            <a:extLst>
              <a:ext uri="{96DAC541-7B7A-43D3-8B79-37D633B846F1}">
                <asvg:svgBlip xmlns:asvg="http://schemas.microsoft.com/office/drawing/2016/SVG/main" xmlns="" r:embed="rId32"/>
              </a:ext>
            </a:extLst>
          </a:blip>
          <a:stretch>
            <a:fillRect/>
          </a:stretch>
        </p:blipFill>
        <p:spPr>
          <a:xfrm>
            <a:off x="3824936" y="3600095"/>
            <a:ext cx="287062" cy="172237"/>
          </a:xfrm>
          <a:prstGeom prst="rect">
            <a:avLst/>
          </a:prstGeom>
        </p:spPr>
      </p:pic>
      <p:pic>
        <p:nvPicPr>
          <p:cNvPr id="197" name="Graphic 196">
            <a:extLst>
              <a:ext uri="{FF2B5EF4-FFF2-40B4-BE49-F238E27FC236}">
                <a16:creationId xmlns:a16="http://schemas.microsoft.com/office/drawing/2014/main" xmlns="" id="{B221731C-56FD-45A2-87A1-C67C67378AB7}"/>
              </a:ext>
            </a:extLst>
          </p:cNvPr>
          <p:cNvPicPr>
            <a:picLocks noChangeAspect="1"/>
          </p:cNvPicPr>
          <p:nvPr/>
        </p:nvPicPr>
        <p:blipFill>
          <a:blip r:embed="rId33">
            <a:extLst>
              <a:ext uri="{96DAC541-7B7A-43D3-8B79-37D633B846F1}">
                <asvg:svgBlip xmlns:asvg="http://schemas.microsoft.com/office/drawing/2016/SVG/main" xmlns="" r:embed="rId34"/>
              </a:ext>
            </a:extLst>
          </a:blip>
          <a:stretch>
            <a:fillRect/>
          </a:stretch>
        </p:blipFill>
        <p:spPr>
          <a:xfrm>
            <a:off x="3825176" y="3816561"/>
            <a:ext cx="287062" cy="172237"/>
          </a:xfrm>
          <a:prstGeom prst="rect">
            <a:avLst/>
          </a:prstGeom>
        </p:spPr>
      </p:pic>
      <p:pic>
        <p:nvPicPr>
          <p:cNvPr id="199" name="Graphic 198">
            <a:extLst>
              <a:ext uri="{FF2B5EF4-FFF2-40B4-BE49-F238E27FC236}">
                <a16:creationId xmlns:a16="http://schemas.microsoft.com/office/drawing/2014/main" xmlns="" id="{9E1BFF62-1F9B-4A55-9055-6C80B5A42754}"/>
              </a:ext>
            </a:extLst>
          </p:cNvPr>
          <p:cNvPicPr>
            <a:picLocks noChangeAspect="1"/>
          </p:cNvPicPr>
          <p:nvPr/>
        </p:nvPicPr>
        <p:blipFill>
          <a:blip r:embed="rId35">
            <a:extLst>
              <a:ext uri="{96DAC541-7B7A-43D3-8B79-37D633B846F1}">
                <asvg:svgBlip xmlns:asvg="http://schemas.microsoft.com/office/drawing/2016/SVG/main" xmlns="" r:embed="rId36"/>
              </a:ext>
            </a:extLst>
          </a:blip>
          <a:stretch>
            <a:fillRect/>
          </a:stretch>
        </p:blipFill>
        <p:spPr>
          <a:xfrm>
            <a:off x="3827371" y="4033607"/>
            <a:ext cx="287062" cy="172237"/>
          </a:xfrm>
          <a:prstGeom prst="rect">
            <a:avLst/>
          </a:prstGeom>
        </p:spPr>
      </p:pic>
      <p:grpSp>
        <p:nvGrpSpPr>
          <p:cNvPr id="3" name="Group 2">
            <a:extLst>
              <a:ext uri="{FF2B5EF4-FFF2-40B4-BE49-F238E27FC236}">
                <a16:creationId xmlns:a16="http://schemas.microsoft.com/office/drawing/2014/main" xmlns="" id="{19475568-296A-46E5-8FF3-8D3D234BA888}"/>
              </a:ext>
            </a:extLst>
          </p:cNvPr>
          <p:cNvGrpSpPr/>
          <p:nvPr/>
        </p:nvGrpSpPr>
        <p:grpSpPr>
          <a:xfrm>
            <a:off x="3819780" y="3169689"/>
            <a:ext cx="287302" cy="170944"/>
            <a:chOff x="1330560" y="5474845"/>
            <a:chExt cx="389792" cy="231925"/>
          </a:xfrm>
        </p:grpSpPr>
        <p:pic>
          <p:nvPicPr>
            <p:cNvPr id="195" name="Graphic 194">
              <a:extLst>
                <a:ext uri="{FF2B5EF4-FFF2-40B4-BE49-F238E27FC236}">
                  <a16:creationId xmlns:a16="http://schemas.microsoft.com/office/drawing/2014/main" xmlns="" id="{5DF0E180-B7F4-4D24-BA18-D4DF375433C7}"/>
                </a:ext>
              </a:extLst>
            </p:cNvPr>
            <p:cNvPicPr>
              <a:picLocks noChangeAspect="1"/>
            </p:cNvPicPr>
            <p:nvPr/>
          </p:nvPicPr>
          <p:blipFill>
            <a:blip r:embed="rId37">
              <a:extLst>
                <a:ext uri="{96DAC541-7B7A-43D3-8B79-37D633B846F1}">
                  <asvg:svgBlip xmlns:asvg="http://schemas.microsoft.com/office/drawing/2016/SVG/main" xmlns="" r:embed="rId38"/>
                </a:ext>
              </a:extLst>
            </a:blip>
            <a:stretch>
              <a:fillRect/>
            </a:stretch>
          </p:blipFill>
          <p:spPr>
            <a:xfrm>
              <a:off x="1333811" y="5474845"/>
              <a:ext cx="386541" cy="231925"/>
            </a:xfrm>
            <a:prstGeom prst="rect">
              <a:avLst/>
            </a:prstGeom>
          </p:spPr>
        </p:pic>
        <p:sp>
          <p:nvSpPr>
            <p:cNvPr id="200" name="Rectangle 199">
              <a:extLst>
                <a:ext uri="{FF2B5EF4-FFF2-40B4-BE49-F238E27FC236}">
                  <a16:creationId xmlns:a16="http://schemas.microsoft.com/office/drawing/2014/main" xmlns="" id="{4AFD3375-8C1E-4938-9053-B804CA887F9B}"/>
                </a:ext>
              </a:extLst>
            </p:cNvPr>
            <p:cNvSpPr/>
            <p:nvPr/>
          </p:nvSpPr>
          <p:spPr>
            <a:xfrm>
              <a:off x="1330560" y="5474846"/>
              <a:ext cx="389469" cy="229858"/>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grpSp>
        <p:nvGrpSpPr>
          <p:cNvPr id="5" name="Group 4">
            <a:extLst>
              <a:ext uri="{FF2B5EF4-FFF2-40B4-BE49-F238E27FC236}">
                <a16:creationId xmlns:a16="http://schemas.microsoft.com/office/drawing/2014/main" xmlns="" id="{84D266B3-0AB8-4231-B1AD-E21CAAF82D38}"/>
              </a:ext>
            </a:extLst>
          </p:cNvPr>
          <p:cNvGrpSpPr/>
          <p:nvPr/>
        </p:nvGrpSpPr>
        <p:grpSpPr>
          <a:xfrm>
            <a:off x="3828908" y="4249667"/>
            <a:ext cx="288872" cy="172237"/>
            <a:chOff x="5057561" y="2574001"/>
            <a:chExt cx="391922" cy="233679"/>
          </a:xfrm>
        </p:grpSpPr>
        <p:pic>
          <p:nvPicPr>
            <p:cNvPr id="198" name="Graphic 197">
              <a:extLst>
                <a:ext uri="{FF2B5EF4-FFF2-40B4-BE49-F238E27FC236}">
                  <a16:creationId xmlns:a16="http://schemas.microsoft.com/office/drawing/2014/main" xmlns="" id="{5D079373-2CAE-4FC1-8799-79E11FD8D9F4}"/>
                </a:ext>
              </a:extLst>
            </p:cNvPr>
            <p:cNvPicPr>
              <a:picLocks noChangeAspect="1"/>
            </p:cNvPicPr>
            <p:nvPr/>
          </p:nvPicPr>
          <p:blipFill>
            <a:blip r:embed="rId39">
              <a:extLst>
                <a:ext uri="{96DAC541-7B7A-43D3-8B79-37D633B846F1}">
                  <asvg:svgBlip xmlns:asvg="http://schemas.microsoft.com/office/drawing/2016/SVG/main" xmlns="" r:embed="rId40"/>
                </a:ext>
              </a:extLst>
            </a:blip>
            <a:stretch>
              <a:fillRect/>
            </a:stretch>
          </p:blipFill>
          <p:spPr>
            <a:xfrm>
              <a:off x="5060017" y="2574001"/>
              <a:ext cx="389466" cy="233679"/>
            </a:xfrm>
            <a:prstGeom prst="rect">
              <a:avLst/>
            </a:prstGeom>
          </p:spPr>
        </p:pic>
        <p:sp>
          <p:nvSpPr>
            <p:cNvPr id="201" name="Rectangle 200">
              <a:extLst>
                <a:ext uri="{FF2B5EF4-FFF2-40B4-BE49-F238E27FC236}">
                  <a16:creationId xmlns:a16="http://schemas.microsoft.com/office/drawing/2014/main" xmlns="" id="{DA8C7CEC-2BA9-49AD-84BB-368D8858A4F2}"/>
                </a:ext>
              </a:extLst>
            </p:cNvPr>
            <p:cNvSpPr/>
            <p:nvPr/>
          </p:nvSpPr>
          <p:spPr>
            <a:xfrm>
              <a:off x="5057561" y="2577811"/>
              <a:ext cx="389469" cy="229858"/>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pic>
        <p:nvPicPr>
          <p:cNvPr id="202" name="Graphic 201">
            <a:extLst>
              <a:ext uri="{FF2B5EF4-FFF2-40B4-BE49-F238E27FC236}">
                <a16:creationId xmlns:a16="http://schemas.microsoft.com/office/drawing/2014/main" xmlns="" id="{24AC9960-83AD-44DA-B696-EDF711615B18}"/>
              </a:ext>
            </a:extLst>
          </p:cNvPr>
          <p:cNvPicPr>
            <a:picLocks noChangeAspect="1"/>
          </p:cNvPicPr>
          <p:nvPr/>
        </p:nvPicPr>
        <p:blipFill>
          <a:blip r:embed="rId41">
            <a:extLst>
              <a:ext uri="{96DAC541-7B7A-43D3-8B79-37D633B846F1}">
                <asvg:svgBlip xmlns:asvg="http://schemas.microsoft.com/office/drawing/2016/SVG/main" xmlns="" r:embed="rId42"/>
              </a:ext>
            </a:extLst>
          </a:blip>
          <a:stretch>
            <a:fillRect/>
          </a:stretch>
        </p:blipFill>
        <p:spPr>
          <a:xfrm>
            <a:off x="6600676" y="2310243"/>
            <a:ext cx="287061" cy="172236"/>
          </a:xfrm>
          <a:prstGeom prst="rect">
            <a:avLst/>
          </a:prstGeom>
        </p:spPr>
      </p:pic>
      <p:pic>
        <p:nvPicPr>
          <p:cNvPr id="203" name="Graphic 202">
            <a:extLst>
              <a:ext uri="{FF2B5EF4-FFF2-40B4-BE49-F238E27FC236}">
                <a16:creationId xmlns:a16="http://schemas.microsoft.com/office/drawing/2014/main" xmlns="" id="{6CF6393B-8AA0-403E-BE84-0A404E3F19AC}"/>
              </a:ext>
            </a:extLst>
          </p:cNvPr>
          <p:cNvPicPr>
            <a:picLocks noChangeAspect="1"/>
          </p:cNvPicPr>
          <p:nvPr/>
        </p:nvPicPr>
        <p:blipFill>
          <a:blip r:embed="rId43">
            <a:extLst>
              <a:ext uri="{96DAC541-7B7A-43D3-8B79-37D633B846F1}">
                <asvg:svgBlip xmlns:asvg="http://schemas.microsoft.com/office/drawing/2016/SVG/main" xmlns="" r:embed="rId44"/>
              </a:ext>
            </a:extLst>
          </a:blip>
          <a:stretch>
            <a:fillRect/>
          </a:stretch>
        </p:blipFill>
        <p:spPr>
          <a:xfrm>
            <a:off x="6596944" y="2528015"/>
            <a:ext cx="287061" cy="172236"/>
          </a:xfrm>
          <a:prstGeom prst="rect">
            <a:avLst/>
          </a:prstGeom>
        </p:spPr>
      </p:pic>
      <p:pic>
        <p:nvPicPr>
          <p:cNvPr id="204" name="Graphic 203">
            <a:extLst>
              <a:ext uri="{FF2B5EF4-FFF2-40B4-BE49-F238E27FC236}">
                <a16:creationId xmlns:a16="http://schemas.microsoft.com/office/drawing/2014/main" xmlns="" id="{44C7C265-7B56-4D78-A277-7F79E533B72D}"/>
              </a:ext>
            </a:extLst>
          </p:cNvPr>
          <p:cNvPicPr>
            <a:picLocks noChangeAspect="1"/>
          </p:cNvPicPr>
          <p:nvPr/>
        </p:nvPicPr>
        <p:blipFill>
          <a:blip r:embed="rId45">
            <a:extLst>
              <a:ext uri="{96DAC541-7B7A-43D3-8B79-37D633B846F1}">
                <asvg:svgBlip xmlns:asvg="http://schemas.microsoft.com/office/drawing/2016/SVG/main" xmlns="" r:embed="rId46"/>
              </a:ext>
            </a:extLst>
          </a:blip>
          <a:stretch>
            <a:fillRect/>
          </a:stretch>
        </p:blipFill>
        <p:spPr>
          <a:xfrm>
            <a:off x="6600672" y="3383129"/>
            <a:ext cx="287061" cy="172236"/>
          </a:xfrm>
          <a:prstGeom prst="rect">
            <a:avLst/>
          </a:prstGeom>
        </p:spPr>
      </p:pic>
      <p:pic>
        <p:nvPicPr>
          <p:cNvPr id="205" name="Graphic 204">
            <a:extLst>
              <a:ext uri="{FF2B5EF4-FFF2-40B4-BE49-F238E27FC236}">
                <a16:creationId xmlns:a16="http://schemas.microsoft.com/office/drawing/2014/main" xmlns="" id="{5BC4F987-BBEF-4346-B1AB-FC6573645F47}"/>
              </a:ext>
            </a:extLst>
          </p:cNvPr>
          <p:cNvPicPr>
            <a:picLocks noChangeAspect="1"/>
          </p:cNvPicPr>
          <p:nvPr/>
        </p:nvPicPr>
        <p:blipFill>
          <a:blip r:embed="rId47">
            <a:extLst>
              <a:ext uri="{96DAC541-7B7A-43D3-8B79-37D633B846F1}">
                <asvg:svgBlip xmlns:asvg="http://schemas.microsoft.com/office/drawing/2016/SVG/main" xmlns="" r:embed="rId48"/>
              </a:ext>
            </a:extLst>
          </a:blip>
          <a:stretch>
            <a:fillRect/>
          </a:stretch>
        </p:blipFill>
        <p:spPr>
          <a:xfrm>
            <a:off x="6596944" y="2952238"/>
            <a:ext cx="287061" cy="172236"/>
          </a:xfrm>
          <a:prstGeom prst="rect">
            <a:avLst/>
          </a:prstGeom>
        </p:spPr>
      </p:pic>
      <p:pic>
        <p:nvPicPr>
          <p:cNvPr id="207" name="Graphic 206">
            <a:extLst>
              <a:ext uri="{FF2B5EF4-FFF2-40B4-BE49-F238E27FC236}">
                <a16:creationId xmlns:a16="http://schemas.microsoft.com/office/drawing/2014/main" xmlns="" id="{6CFF3CFE-82CD-44D7-942E-7E236D6364C4}"/>
              </a:ext>
            </a:extLst>
          </p:cNvPr>
          <p:cNvPicPr>
            <a:picLocks noChangeAspect="1"/>
          </p:cNvPicPr>
          <p:nvPr/>
        </p:nvPicPr>
        <p:blipFill>
          <a:blip r:embed="rId49">
            <a:extLst>
              <a:ext uri="{96DAC541-7B7A-43D3-8B79-37D633B846F1}">
                <asvg:svgBlip xmlns:asvg="http://schemas.microsoft.com/office/drawing/2016/SVG/main" xmlns="" r:embed="rId50"/>
              </a:ext>
            </a:extLst>
          </a:blip>
          <a:stretch>
            <a:fillRect/>
          </a:stretch>
        </p:blipFill>
        <p:spPr>
          <a:xfrm>
            <a:off x="6596944" y="3813247"/>
            <a:ext cx="287061" cy="172236"/>
          </a:xfrm>
          <a:prstGeom prst="rect">
            <a:avLst/>
          </a:prstGeom>
        </p:spPr>
      </p:pic>
      <p:pic>
        <p:nvPicPr>
          <p:cNvPr id="208" name="Graphic 207">
            <a:extLst>
              <a:ext uri="{FF2B5EF4-FFF2-40B4-BE49-F238E27FC236}">
                <a16:creationId xmlns:a16="http://schemas.microsoft.com/office/drawing/2014/main" xmlns="" id="{65ACCBE7-D761-42ED-916D-3680B3DEE4BE}"/>
              </a:ext>
            </a:extLst>
          </p:cNvPr>
          <p:cNvPicPr>
            <a:picLocks noChangeAspect="1"/>
          </p:cNvPicPr>
          <p:nvPr/>
        </p:nvPicPr>
        <p:blipFill>
          <a:blip r:embed="rId51">
            <a:extLst>
              <a:ext uri="{96DAC541-7B7A-43D3-8B79-37D633B846F1}">
                <asvg:svgBlip xmlns:asvg="http://schemas.microsoft.com/office/drawing/2016/SVG/main" xmlns="" r:embed="rId52"/>
              </a:ext>
            </a:extLst>
          </a:blip>
          <a:stretch>
            <a:fillRect/>
          </a:stretch>
        </p:blipFill>
        <p:spPr>
          <a:xfrm>
            <a:off x="6596944" y="3164638"/>
            <a:ext cx="287061" cy="172236"/>
          </a:xfrm>
          <a:prstGeom prst="rect">
            <a:avLst/>
          </a:prstGeom>
        </p:spPr>
      </p:pic>
      <p:pic>
        <p:nvPicPr>
          <p:cNvPr id="209" name="Graphic 208">
            <a:extLst>
              <a:ext uri="{FF2B5EF4-FFF2-40B4-BE49-F238E27FC236}">
                <a16:creationId xmlns:a16="http://schemas.microsoft.com/office/drawing/2014/main" xmlns="" id="{D9F3180F-9BAE-4D99-B197-AABA595D946C}"/>
              </a:ext>
            </a:extLst>
          </p:cNvPr>
          <p:cNvPicPr>
            <a:picLocks noChangeAspect="1"/>
          </p:cNvPicPr>
          <p:nvPr/>
        </p:nvPicPr>
        <p:blipFill>
          <a:blip r:embed="rId53">
            <a:extLst>
              <a:ext uri="{96DAC541-7B7A-43D3-8B79-37D633B846F1}">
                <asvg:svgBlip xmlns:asvg="http://schemas.microsoft.com/office/drawing/2016/SVG/main" xmlns="" r:embed="rId54"/>
              </a:ext>
            </a:extLst>
          </a:blip>
          <a:stretch>
            <a:fillRect/>
          </a:stretch>
        </p:blipFill>
        <p:spPr>
          <a:xfrm>
            <a:off x="6596944" y="4027179"/>
            <a:ext cx="287061" cy="172236"/>
          </a:xfrm>
          <a:prstGeom prst="rect">
            <a:avLst/>
          </a:prstGeom>
        </p:spPr>
      </p:pic>
      <p:grpSp>
        <p:nvGrpSpPr>
          <p:cNvPr id="6" name="Group 5">
            <a:extLst>
              <a:ext uri="{FF2B5EF4-FFF2-40B4-BE49-F238E27FC236}">
                <a16:creationId xmlns:a16="http://schemas.microsoft.com/office/drawing/2014/main" xmlns="" id="{D62ECA64-D2BA-4D16-A7C5-02F305FD36A4}"/>
              </a:ext>
            </a:extLst>
          </p:cNvPr>
          <p:cNvGrpSpPr/>
          <p:nvPr/>
        </p:nvGrpSpPr>
        <p:grpSpPr>
          <a:xfrm>
            <a:off x="6600673" y="3600095"/>
            <a:ext cx="287064" cy="174794"/>
            <a:chOff x="5057565" y="4037096"/>
            <a:chExt cx="389469" cy="237149"/>
          </a:xfrm>
        </p:grpSpPr>
        <p:pic>
          <p:nvPicPr>
            <p:cNvPr id="206" name="Graphic 205">
              <a:extLst>
                <a:ext uri="{FF2B5EF4-FFF2-40B4-BE49-F238E27FC236}">
                  <a16:creationId xmlns:a16="http://schemas.microsoft.com/office/drawing/2014/main" xmlns="" id="{50037723-F0F7-4AA4-8781-90D68ADECF0D}"/>
                </a:ext>
              </a:extLst>
            </p:cNvPr>
            <p:cNvPicPr>
              <a:picLocks noChangeAspect="1"/>
            </p:cNvPicPr>
            <p:nvPr/>
          </p:nvPicPr>
          <p:blipFill>
            <a:blip r:embed="rId55">
              <a:extLst>
                <a:ext uri="{96DAC541-7B7A-43D3-8B79-37D633B846F1}">
                  <asvg:svgBlip xmlns:asvg="http://schemas.microsoft.com/office/drawing/2016/SVG/main" xmlns="" r:embed="rId56"/>
                </a:ext>
              </a:extLst>
            </a:blip>
            <a:stretch>
              <a:fillRect/>
            </a:stretch>
          </p:blipFill>
          <p:spPr>
            <a:xfrm>
              <a:off x="5057565" y="4040567"/>
              <a:ext cx="389465" cy="233678"/>
            </a:xfrm>
            <a:prstGeom prst="rect">
              <a:avLst/>
            </a:prstGeom>
          </p:spPr>
        </p:pic>
        <p:sp>
          <p:nvSpPr>
            <p:cNvPr id="211" name="Rectangle 210">
              <a:extLst>
                <a:ext uri="{FF2B5EF4-FFF2-40B4-BE49-F238E27FC236}">
                  <a16:creationId xmlns:a16="http://schemas.microsoft.com/office/drawing/2014/main" xmlns="" id="{663874E0-2BA5-4B1A-9CA0-56489AB52A79}"/>
                </a:ext>
              </a:extLst>
            </p:cNvPr>
            <p:cNvSpPr/>
            <p:nvPr/>
          </p:nvSpPr>
          <p:spPr>
            <a:xfrm>
              <a:off x="5057565" y="4037096"/>
              <a:ext cx="389469" cy="229858"/>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sp>
        <p:nvSpPr>
          <p:cNvPr id="212" name="Rectangle 211">
            <a:extLst>
              <a:ext uri="{FF2B5EF4-FFF2-40B4-BE49-F238E27FC236}">
                <a16:creationId xmlns:a16="http://schemas.microsoft.com/office/drawing/2014/main" xmlns="" id="{9F8E2BFE-5A69-406D-9BD6-E2CC3BFD85E4}"/>
              </a:ext>
            </a:extLst>
          </p:cNvPr>
          <p:cNvSpPr/>
          <p:nvPr/>
        </p:nvSpPr>
        <p:spPr>
          <a:xfrm>
            <a:off x="6596944" y="3817710"/>
            <a:ext cx="287064" cy="169420"/>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214" name="Rectangle 213">
            <a:extLst>
              <a:ext uri="{FF2B5EF4-FFF2-40B4-BE49-F238E27FC236}">
                <a16:creationId xmlns:a16="http://schemas.microsoft.com/office/drawing/2014/main" xmlns="" id="{D8E167A9-92C3-4B99-9057-21CFF209CD30}"/>
              </a:ext>
            </a:extLst>
          </p:cNvPr>
          <p:cNvSpPr/>
          <p:nvPr/>
        </p:nvSpPr>
        <p:spPr>
          <a:xfrm>
            <a:off x="6596944" y="2527000"/>
            <a:ext cx="287064" cy="169420"/>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sp>
        <p:nvSpPr>
          <p:cNvPr id="215" name="Rectangle 214">
            <a:extLst>
              <a:ext uri="{FF2B5EF4-FFF2-40B4-BE49-F238E27FC236}">
                <a16:creationId xmlns:a16="http://schemas.microsoft.com/office/drawing/2014/main" xmlns="" id="{4F3B2378-4A0B-4406-BC36-53C3D3D69239}"/>
              </a:ext>
            </a:extLst>
          </p:cNvPr>
          <p:cNvSpPr/>
          <p:nvPr/>
        </p:nvSpPr>
        <p:spPr>
          <a:xfrm>
            <a:off x="6596944" y="2740458"/>
            <a:ext cx="287064" cy="169420"/>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nvGrpSpPr>
          <p:cNvPr id="2" name="Group 1">
            <a:extLst>
              <a:ext uri="{FF2B5EF4-FFF2-40B4-BE49-F238E27FC236}">
                <a16:creationId xmlns:a16="http://schemas.microsoft.com/office/drawing/2014/main" xmlns="" id="{20FFE461-0188-43A4-B778-94600D06C26D}"/>
              </a:ext>
            </a:extLst>
          </p:cNvPr>
          <p:cNvGrpSpPr/>
          <p:nvPr/>
        </p:nvGrpSpPr>
        <p:grpSpPr>
          <a:xfrm>
            <a:off x="3824936" y="2953056"/>
            <a:ext cx="287302" cy="174970"/>
            <a:chOff x="1330560" y="5770409"/>
            <a:chExt cx="389792" cy="237387"/>
          </a:xfrm>
        </p:grpSpPr>
        <p:pic>
          <p:nvPicPr>
            <p:cNvPr id="193" name="Graphic 192">
              <a:extLst>
                <a:ext uri="{FF2B5EF4-FFF2-40B4-BE49-F238E27FC236}">
                  <a16:creationId xmlns:a16="http://schemas.microsoft.com/office/drawing/2014/main" xmlns="" id="{48BE714E-4446-48C4-A4DA-E2362DF6DA42}"/>
                </a:ext>
              </a:extLst>
            </p:cNvPr>
            <p:cNvPicPr>
              <a:picLocks noChangeAspect="1"/>
            </p:cNvPicPr>
            <p:nvPr/>
          </p:nvPicPr>
          <p:blipFill>
            <a:blip r:embed="rId57">
              <a:extLst>
                <a:ext uri="{96DAC541-7B7A-43D3-8B79-37D633B846F1}">
                  <asvg:svgBlip xmlns:asvg="http://schemas.microsoft.com/office/drawing/2016/SVG/main" xmlns="" r:embed="rId58"/>
                </a:ext>
              </a:extLst>
            </a:blip>
            <a:stretch>
              <a:fillRect/>
            </a:stretch>
          </p:blipFill>
          <p:spPr>
            <a:xfrm>
              <a:off x="1333811" y="5770409"/>
              <a:ext cx="386541" cy="231925"/>
            </a:xfrm>
            <a:prstGeom prst="rect">
              <a:avLst/>
            </a:prstGeom>
          </p:spPr>
        </p:pic>
        <p:sp>
          <p:nvSpPr>
            <p:cNvPr id="216" name="Rectangle 215">
              <a:extLst>
                <a:ext uri="{FF2B5EF4-FFF2-40B4-BE49-F238E27FC236}">
                  <a16:creationId xmlns:a16="http://schemas.microsoft.com/office/drawing/2014/main" xmlns="" id="{ACAAB943-BCEF-468E-A8B5-3C4A11721F63}"/>
                </a:ext>
              </a:extLst>
            </p:cNvPr>
            <p:cNvSpPr/>
            <p:nvPr/>
          </p:nvSpPr>
          <p:spPr>
            <a:xfrm>
              <a:off x="1330560" y="5777938"/>
              <a:ext cx="389469" cy="229858"/>
            </a:xfrm>
            <a:prstGeom prst="rect">
              <a:avLst/>
            </a:prstGeom>
            <a:noFill/>
            <a:ln w="3175">
              <a:solidFill>
                <a:srgbClr val="966E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59"/>
            </a:p>
          </p:txBody>
        </p:sp>
      </p:grpSp>
      <p:pic>
        <p:nvPicPr>
          <p:cNvPr id="217" name="Graphic 216">
            <a:extLst>
              <a:ext uri="{FF2B5EF4-FFF2-40B4-BE49-F238E27FC236}">
                <a16:creationId xmlns:a16="http://schemas.microsoft.com/office/drawing/2014/main" xmlns="" id="{2B19D11E-09C5-45D6-BA90-AB488BF2B79F}"/>
              </a:ext>
            </a:extLst>
          </p:cNvPr>
          <p:cNvPicPr>
            <a:picLocks noChangeAspect="1"/>
          </p:cNvPicPr>
          <p:nvPr/>
        </p:nvPicPr>
        <p:blipFill>
          <a:blip r:embed="rId59">
            <a:extLst>
              <a:ext uri="{96DAC541-7B7A-43D3-8B79-37D633B846F1}">
                <asvg:svgBlip xmlns:asvg="http://schemas.microsoft.com/office/drawing/2016/SVG/main" xmlns="" r:embed="rId60"/>
              </a:ext>
            </a:extLst>
          </a:blip>
          <a:stretch>
            <a:fillRect/>
          </a:stretch>
        </p:blipFill>
        <p:spPr>
          <a:xfrm>
            <a:off x="6600674" y="4242389"/>
            <a:ext cx="287060" cy="172236"/>
          </a:xfrm>
          <a:prstGeom prst="rect">
            <a:avLst/>
          </a:prstGeom>
        </p:spPr>
      </p:pic>
      <p:pic>
        <p:nvPicPr>
          <p:cNvPr id="237" name="Graphic 236">
            <a:extLst>
              <a:ext uri="{FF2B5EF4-FFF2-40B4-BE49-F238E27FC236}">
                <a16:creationId xmlns:a16="http://schemas.microsoft.com/office/drawing/2014/main" xmlns="" id="{080CD797-26C3-4B35-ABCF-5EF930E102AC}"/>
              </a:ext>
            </a:extLst>
          </p:cNvPr>
          <p:cNvPicPr>
            <a:picLocks noChangeAspect="1"/>
          </p:cNvPicPr>
          <p:nvPr/>
        </p:nvPicPr>
        <p:blipFill>
          <a:blip r:embed="rId61">
            <a:extLst>
              <a:ext uri="{96DAC541-7B7A-43D3-8B79-37D633B846F1}">
                <asvg:svgBlip xmlns:asvg="http://schemas.microsoft.com/office/drawing/2016/SVG/main" xmlns="" r:embed="rId62"/>
              </a:ext>
            </a:extLst>
          </a:blip>
          <a:stretch>
            <a:fillRect/>
          </a:stretch>
        </p:blipFill>
        <p:spPr>
          <a:xfrm>
            <a:off x="3824938" y="3380826"/>
            <a:ext cx="287062" cy="172237"/>
          </a:xfrm>
          <a:prstGeom prst="rect">
            <a:avLst/>
          </a:prstGeom>
        </p:spPr>
      </p:pic>
      <p:sp>
        <p:nvSpPr>
          <p:cNvPr id="113" name="TextBox 112">
            <a:extLst>
              <a:ext uri="{FF2B5EF4-FFF2-40B4-BE49-F238E27FC236}">
                <a16:creationId xmlns:a16="http://schemas.microsoft.com/office/drawing/2014/main" xmlns="" id="{41FD7C25-F8D7-4D96-89E5-E08CC672A029}"/>
              </a:ext>
            </a:extLst>
          </p:cNvPr>
          <p:cNvSpPr txBox="1"/>
          <p:nvPr/>
        </p:nvSpPr>
        <p:spPr>
          <a:xfrm>
            <a:off x="7592612" y="4529172"/>
            <a:ext cx="1347947" cy="364715"/>
          </a:xfrm>
          <a:prstGeom prst="rect">
            <a:avLst/>
          </a:prstGeom>
          <a:noFill/>
        </p:spPr>
        <p:txBody>
          <a:bodyPr wrap="square" rtlCol="0">
            <a:spAutoFit/>
          </a:bodyPr>
          <a:lstStyle/>
          <a:p>
            <a:r>
              <a:rPr lang="en-US" sz="885" dirty="0">
                <a:solidFill>
                  <a:srgbClr val="B1DCC1"/>
                </a:solidFill>
                <a:latin typeface="Gill Sans Std Light" panose="020B0302020104020203" pitchFamily="34" charset="0"/>
                <a:sym typeface="Wingdings" panose="05000000000000000000" pitchFamily="2" charset="2"/>
              </a:rPr>
              <a:t></a:t>
            </a:r>
            <a:r>
              <a:rPr lang="en-US" sz="885" dirty="0">
                <a:latin typeface="Gill Sans Std Light" panose="020B0302020104020203" pitchFamily="34" charset="0"/>
              </a:rPr>
              <a:t> – increased in rank</a:t>
            </a:r>
          </a:p>
          <a:p>
            <a:r>
              <a:rPr lang="en-US" sz="885" dirty="0">
                <a:solidFill>
                  <a:srgbClr val="FCB8B6"/>
                </a:solidFill>
                <a:latin typeface="Gill Sans Std Light" panose="020B0302020104020203" pitchFamily="34" charset="0"/>
                <a:sym typeface="Wingdings" panose="05000000000000000000" pitchFamily="2" charset="2"/>
              </a:rPr>
              <a:t></a:t>
            </a:r>
            <a:r>
              <a:rPr lang="en-US" sz="885" dirty="0">
                <a:latin typeface="Gill Sans Std Light" panose="020B0302020104020203" pitchFamily="34" charset="0"/>
              </a:rPr>
              <a:t> – decreased in rank</a:t>
            </a:r>
            <a:endParaRPr lang="en-SG" sz="885" dirty="0">
              <a:latin typeface="Gill Sans Std Light" panose="020B0302020104020203" pitchFamily="34" charset="0"/>
            </a:endParaRPr>
          </a:p>
        </p:txBody>
      </p:sp>
      <p:sp>
        <p:nvSpPr>
          <p:cNvPr id="69" name="Title 2">
            <a:extLst>
              <a:ext uri="{FF2B5EF4-FFF2-40B4-BE49-F238E27FC236}">
                <a16:creationId xmlns:a16="http://schemas.microsoft.com/office/drawing/2014/main" xmlns="" id="{BFE92144-8A1C-4A56-9AB9-B03AC2BE0DB8}"/>
              </a:ext>
            </a:extLst>
          </p:cNvPr>
          <p:cNvSpPr txBox="1">
            <a:spLocks/>
          </p:cNvSpPr>
          <p:nvPr/>
        </p:nvSpPr>
        <p:spPr>
          <a:xfrm>
            <a:off x="516410" y="511689"/>
            <a:ext cx="8873181" cy="60731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r>
              <a:rPr lang="en-GB" sz="2400" dirty="0">
                <a:latin typeface="Futura PT Book" panose="020B0502020204020303" pitchFamily="34" charset="0"/>
              </a:rPr>
              <a:t>Top 30 Countries </a:t>
            </a:r>
            <a:endParaRPr lang="en-US" sz="24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472116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2">
            <a:extLst>
              <a:ext uri="{FF2B5EF4-FFF2-40B4-BE49-F238E27FC236}">
                <a16:creationId xmlns:a16="http://schemas.microsoft.com/office/drawing/2014/main" xmlns="" id="{F026B7E8-D5E8-48A9-A6D0-962D07A49CCC}"/>
              </a:ext>
            </a:extLst>
          </p:cNvPr>
          <p:cNvSpPr txBox="1">
            <a:spLocks/>
          </p:cNvSpPr>
          <p:nvPr/>
        </p:nvSpPr>
        <p:spPr>
          <a:xfrm>
            <a:off x="607850" y="2821686"/>
            <a:ext cx="8873181" cy="1270254"/>
          </a:xfrm>
          <a:prstGeom prst="rect">
            <a:avLst/>
          </a:prstGeom>
        </p:spPr>
        <p:txBody>
          <a:bodyPr vert="horz" lIns="0" tIns="45720" rIns="91440" bIns="45720" rtlCol="0" anchor="ctr">
            <a:normAutofit/>
          </a:bodyPr>
          <a:lstStyle>
            <a:lvl1pPr marL="0" algn="l" defTabSz="337002" rtl="0" eaLnBrk="1" latinLnBrk="0" hangingPunct="1">
              <a:lnSpc>
                <a:spcPct val="90000"/>
              </a:lnSpc>
              <a:spcBef>
                <a:spcPct val="0"/>
              </a:spcBef>
              <a:buNone/>
              <a:defRPr lang="en-GB" sz="2359" kern="1200" dirty="0">
                <a:solidFill>
                  <a:srgbClr val="966E32"/>
                </a:solidFill>
                <a:latin typeface="Gill Sans Std Light" panose="020B0302020104020203" pitchFamily="34" charset="0"/>
                <a:ea typeface="+mn-ea"/>
                <a:cs typeface="Arial" panose="020B0604020202020204" pitchFamily="34" charset="0"/>
              </a:defRPr>
            </a:lvl1pPr>
          </a:lstStyle>
          <a:p>
            <a:pPr algn="ctr"/>
            <a:r>
              <a:rPr lang="en-GB" sz="3200" dirty="0">
                <a:latin typeface="Futura PT Book" panose="020B0502020204020303" pitchFamily="34" charset="0"/>
              </a:rPr>
              <a:t>Anti-Corruption is closely correlated with </a:t>
            </a:r>
            <a:br>
              <a:rPr lang="en-GB" sz="3200" dirty="0">
                <a:latin typeface="Futura PT Book" panose="020B0502020204020303" pitchFamily="34" charset="0"/>
              </a:rPr>
            </a:br>
            <a:r>
              <a:rPr lang="en-GB" sz="3200" dirty="0">
                <a:latin typeface="Futura PT Book" panose="020B0502020204020303" pitchFamily="34" charset="0"/>
              </a:rPr>
              <a:t>good governance</a:t>
            </a:r>
            <a:endParaRPr lang="en-US" sz="3200" dirty="0">
              <a:latin typeface="Futura PT Book" panose="020B0502020204020303" pitchFamily="34" charset="0"/>
              <a:cs typeface="Poppins Light" panose="00000400000000000000" pitchFamily="2" charset="0"/>
            </a:endParaRPr>
          </a:p>
        </p:txBody>
      </p:sp>
    </p:spTree>
    <p:extLst>
      <p:ext uri="{BB962C8B-B14F-4D97-AF65-F5344CB8AC3E}">
        <p14:creationId xmlns:p14="http://schemas.microsoft.com/office/powerpoint/2010/main" val="37657212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GTKQVvR8maJ6ov2aI2A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GTKQVvR8maJ6ov2aI2AvA"/>
</p:tagLst>
</file>

<file path=ppt/theme/theme1.xml><?xml version="1.0" encoding="utf-8"?>
<a:theme xmlns:a="http://schemas.openxmlformats.org/drawingml/2006/main" name="Structure Slides">
  <a:themeElements>
    <a:clrScheme name="CIG 2021">
      <a:dk1>
        <a:srgbClr val="404040"/>
      </a:dk1>
      <a:lt1>
        <a:srgbClr val="FFFFFF"/>
      </a:lt1>
      <a:dk2>
        <a:srgbClr val="966E32"/>
      </a:dk2>
      <a:lt2>
        <a:srgbClr val="DCDCDC"/>
      </a:lt2>
      <a:accent1>
        <a:srgbClr val="966E32"/>
      </a:accent1>
      <a:accent2>
        <a:srgbClr val="D2B38C"/>
      </a:accent2>
      <a:accent3>
        <a:srgbClr val="D0AB73"/>
      </a:accent3>
      <a:accent4>
        <a:srgbClr val="64328C"/>
      </a:accent4>
      <a:accent5>
        <a:srgbClr val="6E5AB4"/>
      </a:accent5>
      <a:accent6>
        <a:srgbClr val="8C1E64"/>
      </a:accent6>
      <a:hlink>
        <a:srgbClr val="1459BE"/>
      </a:hlink>
      <a:folHlink>
        <a:srgbClr val="79C0EB"/>
      </a:folHlink>
    </a:clrScheme>
    <a:fontScheme name="CIG">
      <a:majorFont>
        <a:latin typeface="Garamond"/>
        <a:ea typeface=""/>
        <a:cs typeface=""/>
      </a:majorFont>
      <a:minorFont>
        <a:latin typeface="Garamon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GGI">
      <a:dk1>
        <a:srgbClr val="404040"/>
      </a:dk1>
      <a:lt1>
        <a:srgbClr val="FFFFFF"/>
      </a:lt1>
      <a:dk2>
        <a:srgbClr val="966E32"/>
      </a:dk2>
      <a:lt2>
        <a:srgbClr val="DCDCDC"/>
      </a:lt2>
      <a:accent1>
        <a:srgbClr val="966E32"/>
      </a:accent1>
      <a:accent2>
        <a:srgbClr val="D2B38C"/>
      </a:accent2>
      <a:accent3>
        <a:srgbClr val="D0AB73"/>
      </a:accent3>
      <a:accent4>
        <a:srgbClr val="20294E"/>
      </a:accent4>
      <a:accent5>
        <a:srgbClr val="6E5AB4"/>
      </a:accent5>
      <a:accent6>
        <a:srgbClr val="8C1E64"/>
      </a:accent6>
      <a:hlink>
        <a:srgbClr val="1459BE"/>
      </a:hlink>
      <a:folHlink>
        <a:srgbClr val="79C0EB"/>
      </a:folHlink>
    </a:clrScheme>
    <a:fontScheme name="CIG">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IG Cover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ntent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tructure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AAA8DA6559A540AE5E5AD8872A30B2" ma:contentTypeVersion="11" ma:contentTypeDescription="Create a new document." ma:contentTypeScope="" ma:versionID="41cd72ae67808d177ccf4af2bf458b68">
  <xsd:schema xmlns:xsd="http://www.w3.org/2001/XMLSchema" xmlns:xs="http://www.w3.org/2001/XMLSchema" xmlns:p="http://schemas.microsoft.com/office/2006/metadata/properties" xmlns:ns3="f1033539-01df-4cc8-a2bc-c3d8cd57af7b" xmlns:ns4="7df47849-4727-49d9-99bf-6a3fbb80e4dc" targetNamespace="http://schemas.microsoft.com/office/2006/metadata/properties" ma:root="true" ma:fieldsID="d7b4b303fd9a1efd8bef732063935a47" ns3:_="" ns4:_="">
    <xsd:import namespace="f1033539-01df-4cc8-a2bc-c3d8cd57af7b"/>
    <xsd:import namespace="7df47849-4727-49d9-99bf-6a3fbb80e4d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033539-01df-4cc8-a2bc-c3d8cd57af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f47849-4727-49d9-99bf-6a3fbb80e4d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6D314FD-633A-4936-93B5-E4BE9B9CB1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1033539-01df-4cc8-a2bc-c3d8cd57af7b"/>
    <ds:schemaRef ds:uri="7df47849-4727-49d9-99bf-6a3fbb80e4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F338584-2FE9-4660-A9FE-976D2F18C415}">
  <ds:schemaRefs>
    <ds:schemaRef ds:uri="http://schemas.microsoft.com/sharepoint/v3/contenttype/forms"/>
  </ds:schemaRefs>
</ds:datastoreItem>
</file>

<file path=customXml/itemProps3.xml><?xml version="1.0" encoding="utf-8"?>
<ds:datastoreItem xmlns:ds="http://schemas.openxmlformats.org/officeDocument/2006/customXml" ds:itemID="{5D96A74B-920A-4FE5-BE18-DC707034DC49}">
  <ds:schemaRefs>
    <ds:schemaRef ds:uri="http://schemas.microsoft.com/office/2006/documentManagement/types"/>
    <ds:schemaRef ds:uri="http://purl.org/dc/elements/1.1/"/>
    <ds:schemaRef ds:uri="f1033539-01df-4cc8-a2bc-c3d8cd57af7b"/>
    <ds:schemaRef ds:uri="http://schemas.openxmlformats.org/package/2006/metadata/core-properties"/>
    <ds:schemaRef ds:uri="http://purl.org/dc/terms/"/>
    <ds:schemaRef ds:uri="http://www.w3.org/XML/1998/namespace"/>
    <ds:schemaRef ds:uri="http://schemas.microsoft.com/office/infopath/2007/PartnerControls"/>
    <ds:schemaRef ds:uri="http://purl.org/dc/dcmitype/"/>
    <ds:schemaRef ds:uri="7df47849-4727-49d9-99bf-6a3fbb80e4dc"/>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12426</TotalTime>
  <Words>1555</Words>
  <Application>Microsoft Office PowerPoint</Application>
  <PresentationFormat>A4 Paper (210x297 mm)</PresentationFormat>
  <Paragraphs>857</Paragraphs>
  <Slides>31</Slides>
  <Notes>29</Notes>
  <HiddenSlides>0</HiddenSlides>
  <MMClips>0</MMClips>
  <ScaleCrop>false</ScaleCrop>
  <HeadingPairs>
    <vt:vector size="8" baseType="variant">
      <vt:variant>
        <vt:lpstr>Fonts Used</vt:lpstr>
      </vt:variant>
      <vt:variant>
        <vt:i4>20</vt:i4>
      </vt:variant>
      <vt:variant>
        <vt:lpstr>Theme</vt:lpstr>
      </vt:variant>
      <vt:variant>
        <vt:i4>5</vt:i4>
      </vt:variant>
      <vt:variant>
        <vt:lpstr>Embedded OLE Servers</vt:lpstr>
      </vt:variant>
      <vt:variant>
        <vt:i4>1</vt:i4>
      </vt:variant>
      <vt:variant>
        <vt:lpstr>Slide Titles</vt:lpstr>
      </vt:variant>
      <vt:variant>
        <vt:i4>31</vt:i4>
      </vt:variant>
    </vt:vector>
  </HeadingPairs>
  <TitlesOfParts>
    <vt:vector size="57" baseType="lpstr">
      <vt:lpstr>Arial</vt:lpstr>
      <vt:lpstr>Arsenal</vt:lpstr>
      <vt:lpstr>Arsenal-Bold</vt:lpstr>
      <vt:lpstr>Calibri</vt:lpstr>
      <vt:lpstr>Calibri Light</vt:lpstr>
      <vt:lpstr>Futura PT Book</vt:lpstr>
      <vt:lpstr>Futura PT Light</vt:lpstr>
      <vt:lpstr>Garamond</vt:lpstr>
      <vt:lpstr>Gill Sans</vt:lpstr>
      <vt:lpstr>Gill Sans MT</vt:lpstr>
      <vt:lpstr>Gill Sans MT Std Light</vt:lpstr>
      <vt:lpstr>Gill Sans MT Std Medium</vt:lpstr>
      <vt:lpstr>Gill Sans Std Light</vt:lpstr>
      <vt:lpstr>新細明體</vt:lpstr>
      <vt:lpstr>Poppins</vt:lpstr>
      <vt:lpstr>Poppins Light</vt:lpstr>
      <vt:lpstr>华文中宋</vt:lpstr>
      <vt:lpstr>Times New Roman</vt:lpstr>
      <vt:lpstr>Wingdings</vt:lpstr>
      <vt:lpstr>等线</vt:lpstr>
      <vt:lpstr>Structure Slides</vt:lpstr>
      <vt:lpstr>Content Slides</vt:lpstr>
      <vt:lpstr>CIG Covers</vt:lpstr>
      <vt:lpstr>1_Content Slides</vt:lpstr>
      <vt:lpstr>1_Structure Slides</vt:lpstr>
      <vt:lpstr>think-cell Slide</vt:lpstr>
      <vt:lpstr>PowerPoint Presentation</vt:lpstr>
      <vt:lpstr>What is good government?</vt:lpstr>
      <vt:lpstr>National Governance and National Prosperity are Deeply Connected</vt:lpstr>
      <vt:lpstr>PowerPoint Presentation</vt:lpstr>
      <vt:lpstr>What are the capabilities that mat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handler Good Government Index 2022</dc:title>
  <dc:creator>CIG</dc:creator>
  <cp:lastModifiedBy>ADMIN</cp:lastModifiedBy>
  <cp:revision>424</cp:revision>
  <dcterms:created xsi:type="dcterms:W3CDTF">2019-01-18T16:06:41Z</dcterms:created>
  <dcterms:modified xsi:type="dcterms:W3CDTF">2022-05-09T21:2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AAA8DA6559A540AE5E5AD8872A30B2</vt:lpwstr>
  </property>
</Properties>
</file>